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glb" ContentType="model/gltf.binary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Default Extension="ppm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notesSlides/notesSlide1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notesSlides/notesSlide4.xml" ContentType="application/vnd.openxmlformats-officedocument.presentationml.notesSlid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notesSlides/notesSlide8.xml" ContentType="application/vnd.openxmlformats-officedocument.presentationml.notesSlide+xml"/>
  <Override PartName="/ppt/tags/tag30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3.xml" ContentType="application/vnd.openxmlformats-officedocument.presentationml.notesSlide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48"/>
  </p:notesMasterIdLst>
  <p:handoutMasterIdLst>
    <p:handoutMasterId r:id="rId49"/>
  </p:handoutMasterIdLst>
  <p:sldIdLst>
    <p:sldId id="467" r:id="rId6"/>
    <p:sldId id="804" r:id="rId7"/>
    <p:sldId id="803" r:id="rId8"/>
    <p:sldId id="822" r:id="rId9"/>
    <p:sldId id="823" r:id="rId10"/>
    <p:sldId id="841" r:id="rId11"/>
    <p:sldId id="824" r:id="rId12"/>
    <p:sldId id="614" r:id="rId13"/>
    <p:sldId id="617" r:id="rId14"/>
    <p:sldId id="825" r:id="rId15"/>
    <p:sldId id="814" r:id="rId16"/>
    <p:sldId id="828" r:id="rId17"/>
    <p:sldId id="816" r:id="rId18"/>
    <p:sldId id="797" r:id="rId19"/>
    <p:sldId id="740" r:id="rId20"/>
    <p:sldId id="831" r:id="rId21"/>
    <p:sldId id="817" r:id="rId22"/>
    <p:sldId id="775" r:id="rId23"/>
    <p:sldId id="801" r:id="rId24"/>
    <p:sldId id="802" r:id="rId25"/>
    <p:sldId id="819" r:id="rId26"/>
    <p:sldId id="776" r:id="rId27"/>
    <p:sldId id="752" r:id="rId28"/>
    <p:sldId id="826" r:id="rId29"/>
    <p:sldId id="821" r:id="rId30"/>
    <p:sldId id="798" r:id="rId31"/>
    <p:sldId id="755" r:id="rId32"/>
    <p:sldId id="779" r:id="rId33"/>
    <p:sldId id="818" r:id="rId34"/>
    <p:sldId id="757" r:id="rId35"/>
    <p:sldId id="829" r:id="rId36"/>
    <p:sldId id="827" r:id="rId37"/>
    <p:sldId id="833" r:id="rId38"/>
    <p:sldId id="837" r:id="rId39"/>
    <p:sldId id="839" r:id="rId40"/>
    <p:sldId id="838" r:id="rId41"/>
    <p:sldId id="836" r:id="rId42"/>
    <p:sldId id="777" r:id="rId43"/>
    <p:sldId id="791" r:id="rId44"/>
    <p:sldId id="683" r:id="rId45"/>
    <p:sldId id="781" r:id="rId46"/>
    <p:sldId id="820" r:id="rId47"/>
  </p:sldIdLst>
  <p:sldSz cx="12192000" cy="6858000"/>
  <p:notesSz cx="7099300" cy="10234613"/>
  <p:custDataLst>
    <p:tags r:id="rId5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jpai Ashutosh (IFIN DES PTS TI EA AML)" initials="BA(DPTEA" lastIdx="18" clrIdx="0">
    <p:extLst>
      <p:ext uri="{19B8F6BF-5375-455C-9EA6-DF929625EA0E}">
        <p15:presenceInfo xmlns:p15="http://schemas.microsoft.com/office/powerpoint/2012/main" userId="S-1-5-21-839522115-1659004503-725345543-2853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D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51" autoAdjust="0"/>
    <p:restoredTop sz="91173" autoAdjust="0"/>
  </p:normalViewPr>
  <p:slideViewPr>
    <p:cSldViewPr snapToObjects="1" showGuides="1">
      <p:cViewPr varScale="1">
        <p:scale>
          <a:sx n="50" d="100"/>
          <a:sy n="50" d="100"/>
        </p:scale>
        <p:origin x="1066" y="3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tags" Target="tags/tag1.xml"/><Relationship Id="rId55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3CDC65-88F5-4DB1-B5F9-D9366C188234}" type="doc">
      <dgm:prSet loTypeId="urn:microsoft.com/office/officeart/2005/8/layout/arrow2" loCatId="process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en-IN"/>
        </a:p>
      </dgm:t>
    </dgm:pt>
    <dgm:pt modelId="{679D923E-B3A6-4278-8101-5F44AC124379}">
      <dgm:prSet phldrT="[Text]" custT="1"/>
      <dgm:spPr/>
      <dgm:t>
        <a:bodyPr/>
        <a:lstStyle/>
        <a:p>
          <a:endParaRPr lang="en-IN" sz="1600" dirty="0"/>
        </a:p>
      </dgm:t>
    </dgm:pt>
    <dgm:pt modelId="{BFB132DD-3FFD-4ED0-9594-F672B5B49807}" type="parTrans" cxnId="{CCDAF905-73FC-4D81-9886-F23C79569A78}">
      <dgm:prSet/>
      <dgm:spPr/>
      <dgm:t>
        <a:bodyPr/>
        <a:lstStyle/>
        <a:p>
          <a:endParaRPr lang="en-IN"/>
        </a:p>
      </dgm:t>
    </dgm:pt>
    <dgm:pt modelId="{009F18BB-15A2-4EC3-ADD4-0107EF15D06E}" type="sibTrans" cxnId="{CCDAF905-73FC-4D81-9886-F23C79569A78}">
      <dgm:prSet/>
      <dgm:spPr/>
      <dgm:t>
        <a:bodyPr/>
        <a:lstStyle/>
        <a:p>
          <a:endParaRPr lang="en-IN"/>
        </a:p>
      </dgm:t>
    </dgm:pt>
    <dgm:pt modelId="{1EDC8895-1B77-445E-8C6A-13DF7157540D}">
      <dgm:prSet phldrT="[Text]" custT="1"/>
      <dgm:spPr/>
      <dgm:t>
        <a:bodyPr/>
        <a:lstStyle/>
        <a:p>
          <a:r>
            <a:rPr lang="en-IN" sz="1400" dirty="0">
              <a:latin typeface="+mj-lt"/>
            </a:rPr>
            <a:t>2000</a:t>
          </a:r>
        </a:p>
        <a:p>
          <a:r>
            <a:rPr lang="en-IN" sz="1400" dirty="0">
              <a:latin typeface="+mj-lt"/>
              <a:cs typeface="Calibri" panose="020F0502020204030204" pitchFamily="34" charset="0"/>
            </a:rPr>
            <a:t>RNN, </a:t>
          </a:r>
        </a:p>
        <a:p>
          <a:pPr>
            <a:buClr>
              <a:schemeClr val="accent1"/>
            </a:buClr>
            <a:buSzTx/>
          </a:pPr>
          <a:r>
            <a:rPr lang="en-IN" sz="1400" baseline="0" dirty="0">
              <a:latin typeface="+mj-lt"/>
              <a:cs typeface="Calibri" panose="020F0502020204030204" pitchFamily="34" charset="0"/>
            </a:rPr>
            <a:t>LSTM</a:t>
          </a:r>
          <a:r>
            <a:rPr lang="en-IN" sz="1400" dirty="0">
              <a:latin typeface="+mj-lt"/>
              <a:cs typeface="Calibri" panose="020F0502020204030204" pitchFamily="34" charset="0"/>
            </a:rPr>
            <a:t>s</a:t>
          </a:r>
          <a:endParaRPr lang="en-IN" sz="1400" dirty="0">
            <a:latin typeface="+mj-lt"/>
          </a:endParaRPr>
        </a:p>
      </dgm:t>
    </dgm:pt>
    <dgm:pt modelId="{8DB24EC3-4959-4FE7-956B-EF2174414959}" type="sibTrans" cxnId="{57B0953D-FE07-4E76-B10C-37EAE71AF82D}">
      <dgm:prSet/>
      <dgm:spPr/>
      <dgm:t>
        <a:bodyPr/>
        <a:lstStyle/>
        <a:p>
          <a:endParaRPr lang="en-IN"/>
        </a:p>
      </dgm:t>
    </dgm:pt>
    <dgm:pt modelId="{D359EF2D-6A6E-4931-B762-6131A72E4FC4}" type="parTrans" cxnId="{57B0953D-FE07-4E76-B10C-37EAE71AF82D}">
      <dgm:prSet/>
      <dgm:spPr/>
      <dgm:t>
        <a:bodyPr/>
        <a:lstStyle/>
        <a:p>
          <a:endParaRPr lang="en-IN"/>
        </a:p>
      </dgm:t>
    </dgm:pt>
    <dgm:pt modelId="{7608C49D-0445-4537-8A58-1C2D86209E74}">
      <dgm:prSet phldrT="[Text]" custT="1"/>
      <dgm:spPr/>
      <dgm:t>
        <a:bodyPr/>
        <a:lstStyle/>
        <a:p>
          <a:endParaRPr lang="en-IN" sz="1600" dirty="0"/>
        </a:p>
        <a:p>
          <a:endParaRPr lang="en-IN" sz="1600" dirty="0"/>
        </a:p>
        <a:p>
          <a:r>
            <a:rPr lang="en-IN" sz="1400" dirty="0"/>
            <a:t>2020</a:t>
          </a:r>
        </a:p>
        <a:p>
          <a:r>
            <a:rPr lang="en-IN" sz="1400" dirty="0"/>
            <a:t>GPT-3</a:t>
          </a:r>
          <a:endParaRPr lang="en-IN" sz="1600" dirty="0"/>
        </a:p>
      </dgm:t>
    </dgm:pt>
    <dgm:pt modelId="{D0903F18-E108-4144-8E44-684B240214E0}" type="sibTrans" cxnId="{CFFE3A40-9D81-4D3E-AE16-610C30F43218}">
      <dgm:prSet/>
      <dgm:spPr/>
      <dgm:t>
        <a:bodyPr/>
        <a:lstStyle/>
        <a:p>
          <a:endParaRPr lang="en-IN"/>
        </a:p>
      </dgm:t>
    </dgm:pt>
    <dgm:pt modelId="{8B557267-72BC-4757-8B83-A70605837BE2}" type="parTrans" cxnId="{CFFE3A40-9D81-4D3E-AE16-610C30F43218}">
      <dgm:prSet/>
      <dgm:spPr/>
      <dgm:t>
        <a:bodyPr/>
        <a:lstStyle/>
        <a:p>
          <a:endParaRPr lang="en-IN"/>
        </a:p>
      </dgm:t>
    </dgm:pt>
    <dgm:pt modelId="{6313121E-0BE8-4AF9-941B-F3CF6E3062A3}" type="pres">
      <dgm:prSet presAssocID="{D13CDC65-88F5-4DB1-B5F9-D9366C188234}" presName="arrowDiagram" presStyleCnt="0">
        <dgm:presLayoutVars>
          <dgm:chMax val="5"/>
          <dgm:dir/>
          <dgm:resizeHandles val="exact"/>
        </dgm:presLayoutVars>
      </dgm:prSet>
      <dgm:spPr/>
    </dgm:pt>
    <dgm:pt modelId="{CC7904C0-7640-4141-961B-8F565813523C}" type="pres">
      <dgm:prSet presAssocID="{D13CDC65-88F5-4DB1-B5F9-D9366C188234}" presName="arrow" presStyleLbl="bgShp" presStyleIdx="0" presStyleCnt="1" custScaleX="139343"/>
      <dgm:spPr/>
    </dgm:pt>
    <dgm:pt modelId="{B6CE23A4-0BEF-4FDB-85BB-C26C07C6005C}" type="pres">
      <dgm:prSet presAssocID="{D13CDC65-88F5-4DB1-B5F9-D9366C188234}" presName="arrowDiagram3" presStyleCnt="0"/>
      <dgm:spPr/>
    </dgm:pt>
    <dgm:pt modelId="{DC442EDA-79DC-47DC-9760-A5F732F4A533}" type="pres">
      <dgm:prSet presAssocID="{1EDC8895-1B77-445E-8C6A-13DF7157540D}" presName="bullet3a" presStyleLbl="node1" presStyleIdx="0" presStyleCnt="3" custScaleX="110172" custScaleY="110173" custLinFactX="-499865" custLinFactY="172518" custLinFactNeighborX="-500000" custLinFactNeighborY="200000"/>
      <dgm:spPr/>
    </dgm:pt>
    <dgm:pt modelId="{4BE8AA35-65DD-4869-B316-679F20C55DC1}" type="pres">
      <dgm:prSet presAssocID="{1EDC8895-1B77-445E-8C6A-13DF7157540D}" presName="textBox3a" presStyleLbl="revTx" presStyleIdx="0" presStyleCnt="3" custLinFactNeighborX="-24320" custLinFactNeighborY="-6343">
        <dgm:presLayoutVars>
          <dgm:bulletEnabled val="1"/>
        </dgm:presLayoutVars>
      </dgm:prSet>
      <dgm:spPr/>
    </dgm:pt>
    <dgm:pt modelId="{DB82B4AE-F697-4649-9CDC-08D376215344}" type="pres">
      <dgm:prSet presAssocID="{679D923E-B3A6-4278-8101-5F44AC124379}" presName="bullet3b" presStyleLbl="node1" presStyleIdx="1" presStyleCnt="3" custScaleX="80723" custScaleY="76381" custLinFactX="-418052" custLinFactY="200000" custLinFactNeighborX="-500000" custLinFactNeighborY="225374"/>
      <dgm:spPr/>
    </dgm:pt>
    <dgm:pt modelId="{2906454A-3A62-4CCE-B755-37FAAC0ED1F2}" type="pres">
      <dgm:prSet presAssocID="{679D923E-B3A6-4278-8101-5F44AC124379}" presName="textBox3b" presStyleLbl="revTx" presStyleIdx="1" presStyleCnt="3">
        <dgm:presLayoutVars>
          <dgm:bulletEnabled val="1"/>
        </dgm:presLayoutVars>
      </dgm:prSet>
      <dgm:spPr/>
    </dgm:pt>
    <dgm:pt modelId="{B7E40571-F755-4680-8FC5-8967D5CE2E52}" type="pres">
      <dgm:prSet presAssocID="{7608C49D-0445-4537-8A58-1C2D86209E74}" presName="bullet3c" presStyleLbl="node1" presStyleIdx="2" presStyleCnt="3" custAng="0" custLinFactX="-437118" custLinFactY="140594" custLinFactNeighborX="-500000" custLinFactNeighborY="200000"/>
      <dgm:spPr/>
    </dgm:pt>
    <dgm:pt modelId="{1A8337D2-BA2B-4FBE-8F8D-1B471FC2BA85}" type="pres">
      <dgm:prSet presAssocID="{7608C49D-0445-4537-8A58-1C2D86209E74}" presName="textBox3c" presStyleLbl="revTx" presStyleIdx="2" presStyleCnt="3" custScaleY="56316" custLinFactNeighborX="-49083" custLinFactNeighborY="-13379">
        <dgm:presLayoutVars>
          <dgm:bulletEnabled val="1"/>
        </dgm:presLayoutVars>
      </dgm:prSet>
      <dgm:spPr/>
    </dgm:pt>
  </dgm:ptLst>
  <dgm:cxnLst>
    <dgm:cxn modelId="{CCDAF905-73FC-4D81-9886-F23C79569A78}" srcId="{D13CDC65-88F5-4DB1-B5F9-D9366C188234}" destId="{679D923E-B3A6-4278-8101-5F44AC124379}" srcOrd="1" destOrd="0" parTransId="{BFB132DD-3FFD-4ED0-9594-F672B5B49807}" sibTransId="{009F18BB-15A2-4EC3-ADD4-0107EF15D06E}"/>
    <dgm:cxn modelId="{57B0953D-FE07-4E76-B10C-37EAE71AF82D}" srcId="{D13CDC65-88F5-4DB1-B5F9-D9366C188234}" destId="{1EDC8895-1B77-445E-8C6A-13DF7157540D}" srcOrd="0" destOrd="0" parTransId="{D359EF2D-6A6E-4931-B762-6131A72E4FC4}" sibTransId="{8DB24EC3-4959-4FE7-956B-EF2174414959}"/>
    <dgm:cxn modelId="{CFFE3A40-9D81-4D3E-AE16-610C30F43218}" srcId="{D13CDC65-88F5-4DB1-B5F9-D9366C188234}" destId="{7608C49D-0445-4537-8A58-1C2D86209E74}" srcOrd="2" destOrd="0" parTransId="{8B557267-72BC-4757-8B83-A70605837BE2}" sibTransId="{D0903F18-E108-4144-8E44-684B240214E0}"/>
    <dgm:cxn modelId="{328B1C8E-6A6C-4057-BF8C-E09952A249BF}" type="presOf" srcId="{7608C49D-0445-4537-8A58-1C2D86209E74}" destId="{1A8337D2-BA2B-4FBE-8F8D-1B471FC2BA85}" srcOrd="0" destOrd="0" presId="urn:microsoft.com/office/officeart/2005/8/layout/arrow2"/>
    <dgm:cxn modelId="{9FC99BB8-DB4F-494D-B11B-F67D391D7927}" type="presOf" srcId="{1EDC8895-1B77-445E-8C6A-13DF7157540D}" destId="{4BE8AA35-65DD-4869-B316-679F20C55DC1}" srcOrd="0" destOrd="0" presId="urn:microsoft.com/office/officeart/2005/8/layout/arrow2"/>
    <dgm:cxn modelId="{5B5804DD-CFD2-4BB8-B6FE-BA29A515A1A7}" type="presOf" srcId="{D13CDC65-88F5-4DB1-B5F9-D9366C188234}" destId="{6313121E-0BE8-4AF9-941B-F3CF6E3062A3}" srcOrd="0" destOrd="0" presId="urn:microsoft.com/office/officeart/2005/8/layout/arrow2"/>
    <dgm:cxn modelId="{4FFE8DFA-DC04-4C92-9331-D67018A4AEF1}" type="presOf" srcId="{679D923E-B3A6-4278-8101-5F44AC124379}" destId="{2906454A-3A62-4CCE-B755-37FAAC0ED1F2}" srcOrd="0" destOrd="0" presId="urn:microsoft.com/office/officeart/2005/8/layout/arrow2"/>
    <dgm:cxn modelId="{B077E3DD-8900-4705-A893-04F592E47C11}" type="presParOf" srcId="{6313121E-0BE8-4AF9-941B-F3CF6E3062A3}" destId="{CC7904C0-7640-4141-961B-8F565813523C}" srcOrd="0" destOrd="0" presId="urn:microsoft.com/office/officeart/2005/8/layout/arrow2"/>
    <dgm:cxn modelId="{94A96763-05FC-49B7-9CB2-87FF1971D42D}" type="presParOf" srcId="{6313121E-0BE8-4AF9-941B-F3CF6E3062A3}" destId="{B6CE23A4-0BEF-4FDB-85BB-C26C07C6005C}" srcOrd="1" destOrd="0" presId="urn:microsoft.com/office/officeart/2005/8/layout/arrow2"/>
    <dgm:cxn modelId="{3DBA9F60-05DF-4F68-ABEA-348B6835D47C}" type="presParOf" srcId="{B6CE23A4-0BEF-4FDB-85BB-C26C07C6005C}" destId="{DC442EDA-79DC-47DC-9760-A5F732F4A533}" srcOrd="0" destOrd="0" presId="urn:microsoft.com/office/officeart/2005/8/layout/arrow2"/>
    <dgm:cxn modelId="{5806E7A1-182B-4150-8322-38306E9D811F}" type="presParOf" srcId="{B6CE23A4-0BEF-4FDB-85BB-C26C07C6005C}" destId="{4BE8AA35-65DD-4869-B316-679F20C55DC1}" srcOrd="1" destOrd="0" presId="urn:microsoft.com/office/officeart/2005/8/layout/arrow2"/>
    <dgm:cxn modelId="{66C3DCF8-8651-4176-A2E5-38C601CDC514}" type="presParOf" srcId="{B6CE23A4-0BEF-4FDB-85BB-C26C07C6005C}" destId="{DB82B4AE-F697-4649-9CDC-08D376215344}" srcOrd="2" destOrd="0" presId="urn:microsoft.com/office/officeart/2005/8/layout/arrow2"/>
    <dgm:cxn modelId="{966B42AA-FF3D-415F-AB06-736222CCABA8}" type="presParOf" srcId="{B6CE23A4-0BEF-4FDB-85BB-C26C07C6005C}" destId="{2906454A-3A62-4CCE-B755-37FAAC0ED1F2}" srcOrd="3" destOrd="0" presId="urn:microsoft.com/office/officeart/2005/8/layout/arrow2"/>
    <dgm:cxn modelId="{831E5C2F-8DE8-4BCC-84A5-5B42B25EAE86}" type="presParOf" srcId="{B6CE23A4-0BEF-4FDB-85BB-C26C07C6005C}" destId="{B7E40571-F755-4680-8FC5-8967D5CE2E52}" srcOrd="4" destOrd="0" presId="urn:microsoft.com/office/officeart/2005/8/layout/arrow2"/>
    <dgm:cxn modelId="{FA414185-8DA2-4CC9-8851-6C1606EB83E2}" type="presParOf" srcId="{B6CE23A4-0BEF-4FDB-85BB-C26C07C6005C}" destId="{1A8337D2-BA2B-4FBE-8F8D-1B471FC2BA85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7DE9027-6EA5-4ACF-8186-ED327E0CAA21}" type="doc">
      <dgm:prSet loTypeId="urn:microsoft.com/office/officeart/2005/8/layout/orgChart1" loCatId="hierarchy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en-IN"/>
        </a:p>
      </dgm:t>
    </dgm:pt>
    <dgm:pt modelId="{54977309-A2A8-4436-B3C3-014445608BEA}">
      <dgm:prSet phldrT="[Text]"/>
      <dgm:spPr/>
      <dgm:t>
        <a:bodyPr/>
        <a:lstStyle/>
        <a:p>
          <a:r>
            <a:rPr lang="en-IN" dirty="0"/>
            <a:t>Gen AI </a:t>
          </a:r>
        </a:p>
        <a:p>
          <a:r>
            <a:rPr lang="en-IN" dirty="0"/>
            <a:t>(use cases)</a:t>
          </a:r>
        </a:p>
      </dgm:t>
    </dgm:pt>
    <dgm:pt modelId="{EBCCACCA-99BD-490D-A935-E6DFDC052EE8}" type="parTrans" cxnId="{6A345D5D-C2C5-4360-AFE2-F9305FF22AD8}">
      <dgm:prSet/>
      <dgm:spPr/>
      <dgm:t>
        <a:bodyPr/>
        <a:lstStyle/>
        <a:p>
          <a:endParaRPr lang="en-IN"/>
        </a:p>
      </dgm:t>
    </dgm:pt>
    <dgm:pt modelId="{A34688E7-6E38-46B2-AF28-88BCCAFCBDB8}" type="sibTrans" cxnId="{6A345D5D-C2C5-4360-AFE2-F9305FF22AD8}">
      <dgm:prSet/>
      <dgm:spPr/>
      <dgm:t>
        <a:bodyPr/>
        <a:lstStyle/>
        <a:p>
          <a:endParaRPr lang="en-IN"/>
        </a:p>
      </dgm:t>
    </dgm:pt>
    <dgm:pt modelId="{401C8583-AE72-4C48-BE2B-43D6B481ED9E}">
      <dgm:prSet phldrT="[Text]"/>
      <dgm:spPr/>
      <dgm:t>
        <a:bodyPr/>
        <a:lstStyle/>
        <a:p>
          <a:r>
            <a:rPr lang="en-IN" dirty="0"/>
            <a:t>Text Generation</a:t>
          </a:r>
        </a:p>
      </dgm:t>
    </dgm:pt>
    <dgm:pt modelId="{1D2BBC15-C203-4C54-8B9A-BE28B3E12AC0}" type="parTrans" cxnId="{11ABD90E-6B06-4200-A9C1-F76192790868}">
      <dgm:prSet/>
      <dgm:spPr/>
      <dgm:t>
        <a:bodyPr/>
        <a:lstStyle/>
        <a:p>
          <a:endParaRPr lang="en-IN"/>
        </a:p>
      </dgm:t>
    </dgm:pt>
    <dgm:pt modelId="{DD777E3C-812D-4F70-B8F1-BE6B94C89480}" type="sibTrans" cxnId="{11ABD90E-6B06-4200-A9C1-F76192790868}">
      <dgm:prSet/>
      <dgm:spPr/>
      <dgm:t>
        <a:bodyPr/>
        <a:lstStyle/>
        <a:p>
          <a:endParaRPr lang="en-IN"/>
        </a:p>
      </dgm:t>
    </dgm:pt>
    <dgm:pt modelId="{DF54325C-0FC2-4CA7-9C97-276E5B7680BA}">
      <dgm:prSet phldrT="[Text]"/>
      <dgm:spPr/>
      <dgm:t>
        <a:bodyPr/>
        <a:lstStyle/>
        <a:p>
          <a:r>
            <a:rPr lang="en-IN" dirty="0"/>
            <a:t>Image Enhancement</a:t>
          </a:r>
        </a:p>
      </dgm:t>
    </dgm:pt>
    <dgm:pt modelId="{212E2F1E-1A98-40EC-89CE-6B64524C90EF}" type="parTrans" cxnId="{514E1B74-2442-4CF1-96CC-6ACF8BE54AEE}">
      <dgm:prSet/>
      <dgm:spPr/>
      <dgm:t>
        <a:bodyPr/>
        <a:lstStyle/>
        <a:p>
          <a:endParaRPr lang="en-IN"/>
        </a:p>
      </dgm:t>
    </dgm:pt>
    <dgm:pt modelId="{6781F3F5-F3A9-4001-92A4-7ABA2C8F317E}" type="sibTrans" cxnId="{514E1B74-2442-4CF1-96CC-6ACF8BE54AEE}">
      <dgm:prSet/>
      <dgm:spPr/>
      <dgm:t>
        <a:bodyPr/>
        <a:lstStyle/>
        <a:p>
          <a:endParaRPr lang="en-IN"/>
        </a:p>
      </dgm:t>
    </dgm:pt>
    <dgm:pt modelId="{B3E363D0-D092-4EE1-8EC6-A6B6EDB54C11}">
      <dgm:prSet phldrT="[Text]"/>
      <dgm:spPr/>
      <dgm:t>
        <a:bodyPr/>
        <a:lstStyle/>
        <a:p>
          <a:r>
            <a:rPr lang="en-IN" dirty="0"/>
            <a:t>Audio Generation</a:t>
          </a:r>
        </a:p>
      </dgm:t>
    </dgm:pt>
    <dgm:pt modelId="{98429385-415E-4A01-8CAE-FF0AF7E4AFEF}" type="parTrans" cxnId="{245662DC-DED8-4B64-A035-102738FED9B9}">
      <dgm:prSet/>
      <dgm:spPr/>
      <dgm:t>
        <a:bodyPr/>
        <a:lstStyle/>
        <a:p>
          <a:endParaRPr lang="en-IN"/>
        </a:p>
      </dgm:t>
    </dgm:pt>
    <dgm:pt modelId="{662141E8-8122-446E-8865-0379209B60BA}" type="sibTrans" cxnId="{245662DC-DED8-4B64-A035-102738FED9B9}">
      <dgm:prSet/>
      <dgm:spPr/>
      <dgm:t>
        <a:bodyPr/>
        <a:lstStyle/>
        <a:p>
          <a:endParaRPr lang="en-IN"/>
        </a:p>
      </dgm:t>
    </dgm:pt>
    <dgm:pt modelId="{B4A7DC82-2AE7-4B75-8576-AF9BC407C17B}">
      <dgm:prSet phldrT="[Text]"/>
      <dgm:spPr/>
      <dgm:t>
        <a:bodyPr/>
        <a:lstStyle/>
        <a:p>
          <a:r>
            <a:rPr lang="en-IN" dirty="0"/>
            <a:t>Music Composition</a:t>
          </a:r>
        </a:p>
      </dgm:t>
    </dgm:pt>
    <dgm:pt modelId="{AE537436-43C2-439C-8F48-1A68F520B7FC}" type="parTrans" cxnId="{058FB340-AFD4-4423-AFDA-F673B72B3DBB}">
      <dgm:prSet/>
      <dgm:spPr/>
      <dgm:t>
        <a:bodyPr/>
        <a:lstStyle/>
        <a:p>
          <a:endParaRPr lang="en-IN"/>
        </a:p>
      </dgm:t>
    </dgm:pt>
    <dgm:pt modelId="{EB7AB172-CC2B-4333-B5FD-5F8FDC81EB5E}" type="sibTrans" cxnId="{058FB340-AFD4-4423-AFDA-F673B72B3DBB}">
      <dgm:prSet/>
      <dgm:spPr/>
      <dgm:t>
        <a:bodyPr/>
        <a:lstStyle/>
        <a:p>
          <a:endParaRPr lang="en-IN"/>
        </a:p>
      </dgm:t>
    </dgm:pt>
    <dgm:pt modelId="{FC8DB6F7-9735-4516-9185-EB8C2A81C2DC}">
      <dgm:prSet phldrT="[Text]"/>
      <dgm:spPr/>
      <dgm:t>
        <a:bodyPr/>
        <a:lstStyle/>
        <a:p>
          <a:r>
            <a:rPr lang="en-IN" dirty="0"/>
            <a:t>Code generation</a:t>
          </a:r>
        </a:p>
      </dgm:t>
    </dgm:pt>
    <dgm:pt modelId="{C795F2B8-A991-4651-841E-7E988AF27F23}" type="parTrans" cxnId="{24972D58-9358-418A-A664-39768F42FF70}">
      <dgm:prSet/>
      <dgm:spPr/>
      <dgm:t>
        <a:bodyPr/>
        <a:lstStyle/>
        <a:p>
          <a:endParaRPr lang="en-IN"/>
        </a:p>
      </dgm:t>
    </dgm:pt>
    <dgm:pt modelId="{0D7F64D7-E121-4EF4-985A-559D2CFB5ABE}" type="sibTrans" cxnId="{24972D58-9358-418A-A664-39768F42FF70}">
      <dgm:prSet/>
      <dgm:spPr/>
      <dgm:t>
        <a:bodyPr/>
        <a:lstStyle/>
        <a:p>
          <a:endParaRPr lang="en-IN"/>
        </a:p>
      </dgm:t>
    </dgm:pt>
    <dgm:pt modelId="{47CAE6BD-AADA-43DF-8759-34998FAF52D1}">
      <dgm:prSet phldrT="[Text]"/>
      <dgm:spPr/>
      <dgm:t>
        <a:bodyPr/>
        <a:lstStyle/>
        <a:p>
          <a:r>
            <a:rPr lang="en-IN" dirty="0"/>
            <a:t>Bug Fixing</a:t>
          </a:r>
        </a:p>
      </dgm:t>
    </dgm:pt>
    <dgm:pt modelId="{236D0E1B-13CE-402F-882F-AA167D72AB35}" type="parTrans" cxnId="{6B0507C9-FA47-4224-987E-EBBAEE740FB4}">
      <dgm:prSet/>
      <dgm:spPr/>
      <dgm:t>
        <a:bodyPr/>
        <a:lstStyle/>
        <a:p>
          <a:endParaRPr lang="en-IN"/>
        </a:p>
      </dgm:t>
    </dgm:pt>
    <dgm:pt modelId="{4BEEA2F9-32CC-4382-BE11-A32A31714ADF}" type="sibTrans" cxnId="{6B0507C9-FA47-4224-987E-EBBAEE740FB4}">
      <dgm:prSet/>
      <dgm:spPr/>
      <dgm:t>
        <a:bodyPr/>
        <a:lstStyle/>
        <a:p>
          <a:endParaRPr lang="en-IN"/>
        </a:p>
      </dgm:t>
    </dgm:pt>
    <dgm:pt modelId="{35DAAFE3-8D03-46B4-B1E4-C7E8D55DC4F4}">
      <dgm:prSet phldrT="[Text]"/>
      <dgm:spPr/>
      <dgm:t>
        <a:bodyPr/>
        <a:lstStyle/>
        <a:p>
          <a:r>
            <a:rPr lang="en-IN" dirty="0"/>
            <a:t>Visual Content</a:t>
          </a:r>
        </a:p>
      </dgm:t>
    </dgm:pt>
    <dgm:pt modelId="{E80AF269-9DE5-4CF0-9BB9-9306791E16F3}" type="parTrans" cxnId="{187AB3A2-6FB4-4D62-89B2-C6EC3F764EFC}">
      <dgm:prSet/>
      <dgm:spPr/>
      <dgm:t>
        <a:bodyPr/>
        <a:lstStyle/>
        <a:p>
          <a:endParaRPr lang="en-IN"/>
        </a:p>
      </dgm:t>
    </dgm:pt>
    <dgm:pt modelId="{5A5AB495-CA8A-4FA8-930C-2022AB37C446}" type="sibTrans" cxnId="{187AB3A2-6FB4-4D62-89B2-C6EC3F764EFC}">
      <dgm:prSet/>
      <dgm:spPr/>
      <dgm:t>
        <a:bodyPr/>
        <a:lstStyle/>
        <a:p>
          <a:endParaRPr lang="en-IN"/>
        </a:p>
      </dgm:t>
    </dgm:pt>
    <dgm:pt modelId="{AF53FC94-6693-4F20-B7DA-9B862C493EF7}">
      <dgm:prSet phldrT="[Text]"/>
      <dgm:spPr/>
      <dgm:t>
        <a:bodyPr/>
        <a:lstStyle/>
        <a:p>
          <a:r>
            <a:rPr lang="en-IN" dirty="0"/>
            <a:t>Chatbots</a:t>
          </a:r>
        </a:p>
      </dgm:t>
    </dgm:pt>
    <dgm:pt modelId="{09726A78-CD1A-4D0D-AADC-2AC445E0E584}" type="parTrans" cxnId="{24DCF938-E31B-4E51-A8EF-8A4855368473}">
      <dgm:prSet/>
      <dgm:spPr/>
      <dgm:t>
        <a:bodyPr/>
        <a:lstStyle/>
        <a:p>
          <a:endParaRPr lang="en-IN"/>
        </a:p>
      </dgm:t>
    </dgm:pt>
    <dgm:pt modelId="{CE2E5DB4-F820-4964-A15F-25D8FFD3EF98}" type="sibTrans" cxnId="{24DCF938-E31B-4E51-A8EF-8A4855368473}">
      <dgm:prSet/>
      <dgm:spPr/>
      <dgm:t>
        <a:bodyPr/>
        <a:lstStyle/>
        <a:p>
          <a:endParaRPr lang="en-IN"/>
        </a:p>
      </dgm:t>
    </dgm:pt>
    <dgm:pt modelId="{BDA98E4A-385C-4F1C-BDE0-63196B506B03}">
      <dgm:prSet phldrT="[Text]"/>
      <dgm:spPr/>
      <dgm:t>
        <a:bodyPr/>
        <a:lstStyle/>
        <a:p>
          <a:r>
            <a:rPr lang="en-IN" dirty="0"/>
            <a:t>Summary Generation</a:t>
          </a:r>
        </a:p>
      </dgm:t>
    </dgm:pt>
    <dgm:pt modelId="{BFCE6B14-E1D7-4337-84F3-33917B807147}" type="parTrans" cxnId="{17AC306E-FC2D-4E1B-9B8B-568AD02B469F}">
      <dgm:prSet/>
      <dgm:spPr/>
      <dgm:t>
        <a:bodyPr/>
        <a:lstStyle/>
        <a:p>
          <a:endParaRPr lang="en-IN"/>
        </a:p>
      </dgm:t>
    </dgm:pt>
    <dgm:pt modelId="{D5825577-D472-471B-BD24-121664579460}" type="sibTrans" cxnId="{17AC306E-FC2D-4E1B-9B8B-568AD02B469F}">
      <dgm:prSet/>
      <dgm:spPr/>
      <dgm:t>
        <a:bodyPr/>
        <a:lstStyle/>
        <a:p>
          <a:endParaRPr lang="en-IN"/>
        </a:p>
      </dgm:t>
    </dgm:pt>
    <dgm:pt modelId="{30DF539F-FA0E-4559-B8E5-301D9503B443}">
      <dgm:prSet phldrT="[Text]"/>
      <dgm:spPr/>
      <dgm:t>
        <a:bodyPr/>
        <a:lstStyle/>
        <a:p>
          <a:r>
            <a:rPr lang="en-IN" dirty="0"/>
            <a:t>Translation</a:t>
          </a:r>
        </a:p>
      </dgm:t>
    </dgm:pt>
    <dgm:pt modelId="{BB06FF2F-71F1-4642-AFE3-C9BE8E6AEB31}" type="parTrans" cxnId="{C763F6E9-6FC5-458D-AA28-E82C5258EA14}">
      <dgm:prSet/>
      <dgm:spPr/>
      <dgm:t>
        <a:bodyPr/>
        <a:lstStyle/>
        <a:p>
          <a:endParaRPr lang="en-IN"/>
        </a:p>
      </dgm:t>
    </dgm:pt>
    <dgm:pt modelId="{656BFA5C-B883-436F-A689-0F27DE538D8C}" type="sibTrans" cxnId="{C763F6E9-6FC5-458D-AA28-E82C5258EA14}">
      <dgm:prSet/>
      <dgm:spPr/>
      <dgm:t>
        <a:bodyPr/>
        <a:lstStyle/>
        <a:p>
          <a:endParaRPr lang="en-IN"/>
        </a:p>
      </dgm:t>
    </dgm:pt>
    <dgm:pt modelId="{618768B6-B9D4-404F-B819-D491CD90433B}">
      <dgm:prSet phldrT="[Text]"/>
      <dgm:spPr/>
      <dgm:t>
        <a:bodyPr/>
        <a:lstStyle/>
        <a:p>
          <a:r>
            <a:rPr lang="en-IN" dirty="0"/>
            <a:t>Video Generation</a:t>
          </a:r>
        </a:p>
      </dgm:t>
    </dgm:pt>
    <dgm:pt modelId="{845561F0-8804-415D-9E68-7E2122945AD9}" type="parTrans" cxnId="{A8D452AE-F09D-4C17-985E-43DCAFDC390C}">
      <dgm:prSet/>
      <dgm:spPr/>
      <dgm:t>
        <a:bodyPr/>
        <a:lstStyle/>
        <a:p>
          <a:endParaRPr lang="en-IN"/>
        </a:p>
      </dgm:t>
    </dgm:pt>
    <dgm:pt modelId="{999A2150-98CF-40EE-9677-BF6D77F0F529}" type="sibTrans" cxnId="{A8D452AE-F09D-4C17-985E-43DCAFDC390C}">
      <dgm:prSet/>
      <dgm:spPr/>
      <dgm:t>
        <a:bodyPr/>
        <a:lstStyle/>
        <a:p>
          <a:endParaRPr lang="en-IN"/>
        </a:p>
      </dgm:t>
    </dgm:pt>
    <dgm:pt modelId="{71F5C080-20F7-4506-9D44-39DF831A7FA3}">
      <dgm:prSet phldrT="[Text]"/>
      <dgm:spPr/>
      <dgm:t>
        <a:bodyPr/>
        <a:lstStyle/>
        <a:p>
          <a:r>
            <a:rPr lang="en-IN" dirty="0"/>
            <a:t>Code Compilation</a:t>
          </a:r>
        </a:p>
      </dgm:t>
    </dgm:pt>
    <dgm:pt modelId="{1A9971CC-E426-4AEB-B78A-DD7E281FA645}" type="parTrans" cxnId="{A9DCB1D1-153E-4533-8A23-F502E3D5D83B}">
      <dgm:prSet/>
      <dgm:spPr/>
      <dgm:t>
        <a:bodyPr/>
        <a:lstStyle/>
        <a:p>
          <a:endParaRPr lang="en-IN"/>
        </a:p>
      </dgm:t>
    </dgm:pt>
    <dgm:pt modelId="{F2E3EF4D-4BBB-4020-8321-BB190AA16830}" type="sibTrans" cxnId="{A9DCB1D1-153E-4533-8A23-F502E3D5D83B}">
      <dgm:prSet/>
      <dgm:spPr/>
      <dgm:t>
        <a:bodyPr/>
        <a:lstStyle/>
        <a:p>
          <a:endParaRPr lang="en-IN"/>
        </a:p>
      </dgm:t>
    </dgm:pt>
    <dgm:pt modelId="{93696BEB-07BC-4A87-8B5F-190870361ED0}" type="pres">
      <dgm:prSet presAssocID="{47DE9027-6EA5-4ACF-8186-ED327E0CAA2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8382F1A2-F781-4FDD-A54F-D97E3AC27FFC}" type="pres">
      <dgm:prSet presAssocID="{54977309-A2A8-4436-B3C3-014445608BEA}" presName="hierRoot1" presStyleCnt="0">
        <dgm:presLayoutVars>
          <dgm:hierBranch val="init"/>
        </dgm:presLayoutVars>
      </dgm:prSet>
      <dgm:spPr/>
    </dgm:pt>
    <dgm:pt modelId="{E6A14B18-AAC8-469E-B17A-A2816F1BCB77}" type="pres">
      <dgm:prSet presAssocID="{54977309-A2A8-4436-B3C3-014445608BEA}" presName="rootComposite1" presStyleCnt="0"/>
      <dgm:spPr/>
    </dgm:pt>
    <dgm:pt modelId="{2788370D-4F45-4C86-B0DE-46F155D5222F}" type="pres">
      <dgm:prSet presAssocID="{54977309-A2A8-4436-B3C3-014445608BEA}" presName="rootText1" presStyleLbl="node0" presStyleIdx="0" presStyleCnt="1">
        <dgm:presLayoutVars>
          <dgm:chPref val="3"/>
        </dgm:presLayoutVars>
      </dgm:prSet>
      <dgm:spPr/>
    </dgm:pt>
    <dgm:pt modelId="{8E615763-9ACF-45A0-8764-D52C12EFC6BE}" type="pres">
      <dgm:prSet presAssocID="{54977309-A2A8-4436-B3C3-014445608BEA}" presName="rootConnector1" presStyleLbl="node1" presStyleIdx="0" presStyleCnt="0"/>
      <dgm:spPr/>
    </dgm:pt>
    <dgm:pt modelId="{977714AB-AD51-413B-88E2-D69B667C9A67}" type="pres">
      <dgm:prSet presAssocID="{54977309-A2A8-4436-B3C3-014445608BEA}" presName="hierChild2" presStyleCnt="0"/>
      <dgm:spPr/>
    </dgm:pt>
    <dgm:pt modelId="{C59839C6-5A92-479E-BADE-056DC40BC949}" type="pres">
      <dgm:prSet presAssocID="{1D2BBC15-C203-4C54-8B9A-BE28B3E12AC0}" presName="Name37" presStyleLbl="parChTrans1D2" presStyleIdx="0" presStyleCnt="4"/>
      <dgm:spPr/>
    </dgm:pt>
    <dgm:pt modelId="{81467825-AE1D-4D50-80EF-B9347361DB74}" type="pres">
      <dgm:prSet presAssocID="{401C8583-AE72-4C48-BE2B-43D6B481ED9E}" presName="hierRoot2" presStyleCnt="0">
        <dgm:presLayoutVars>
          <dgm:hierBranch val="init"/>
        </dgm:presLayoutVars>
      </dgm:prSet>
      <dgm:spPr/>
    </dgm:pt>
    <dgm:pt modelId="{2E6742FD-9594-4241-B6C9-DC63C21E0DC0}" type="pres">
      <dgm:prSet presAssocID="{401C8583-AE72-4C48-BE2B-43D6B481ED9E}" presName="rootComposite" presStyleCnt="0"/>
      <dgm:spPr/>
    </dgm:pt>
    <dgm:pt modelId="{0532D051-D6E0-4281-8EA7-B444740B0C17}" type="pres">
      <dgm:prSet presAssocID="{401C8583-AE72-4C48-BE2B-43D6B481ED9E}" presName="rootText" presStyleLbl="node2" presStyleIdx="0" presStyleCnt="4">
        <dgm:presLayoutVars>
          <dgm:chPref val="3"/>
        </dgm:presLayoutVars>
      </dgm:prSet>
      <dgm:spPr/>
    </dgm:pt>
    <dgm:pt modelId="{4DE024C9-9834-4C3D-A1C7-976BE6B46BBD}" type="pres">
      <dgm:prSet presAssocID="{401C8583-AE72-4C48-BE2B-43D6B481ED9E}" presName="rootConnector" presStyleLbl="node2" presStyleIdx="0" presStyleCnt="4"/>
      <dgm:spPr/>
    </dgm:pt>
    <dgm:pt modelId="{3F09E43E-7F63-4A4A-880B-06007EC741C3}" type="pres">
      <dgm:prSet presAssocID="{401C8583-AE72-4C48-BE2B-43D6B481ED9E}" presName="hierChild4" presStyleCnt="0"/>
      <dgm:spPr/>
    </dgm:pt>
    <dgm:pt modelId="{D5CCC0A3-6191-4F16-94E8-D744F2256755}" type="pres">
      <dgm:prSet presAssocID="{09726A78-CD1A-4D0D-AADC-2AC445E0E584}" presName="Name37" presStyleLbl="parChTrans1D3" presStyleIdx="0" presStyleCnt="8"/>
      <dgm:spPr/>
    </dgm:pt>
    <dgm:pt modelId="{DFC809D5-BD1D-43FB-83EA-D302BD91B732}" type="pres">
      <dgm:prSet presAssocID="{AF53FC94-6693-4F20-B7DA-9B862C493EF7}" presName="hierRoot2" presStyleCnt="0">
        <dgm:presLayoutVars>
          <dgm:hierBranch val="init"/>
        </dgm:presLayoutVars>
      </dgm:prSet>
      <dgm:spPr/>
    </dgm:pt>
    <dgm:pt modelId="{EB20C0E8-0555-4AA1-B471-4921D3555CCA}" type="pres">
      <dgm:prSet presAssocID="{AF53FC94-6693-4F20-B7DA-9B862C493EF7}" presName="rootComposite" presStyleCnt="0"/>
      <dgm:spPr/>
    </dgm:pt>
    <dgm:pt modelId="{75C47290-EA2D-457D-83B9-A9558ADDE70C}" type="pres">
      <dgm:prSet presAssocID="{AF53FC94-6693-4F20-B7DA-9B862C493EF7}" presName="rootText" presStyleLbl="node3" presStyleIdx="0" presStyleCnt="8">
        <dgm:presLayoutVars>
          <dgm:chPref val="3"/>
        </dgm:presLayoutVars>
      </dgm:prSet>
      <dgm:spPr/>
    </dgm:pt>
    <dgm:pt modelId="{621C02F1-4CAA-4236-8ADF-785DFCEDBB6B}" type="pres">
      <dgm:prSet presAssocID="{AF53FC94-6693-4F20-B7DA-9B862C493EF7}" presName="rootConnector" presStyleLbl="node3" presStyleIdx="0" presStyleCnt="8"/>
      <dgm:spPr/>
    </dgm:pt>
    <dgm:pt modelId="{2F59A2E0-4E6D-4FFB-B333-2E79D8AE4C40}" type="pres">
      <dgm:prSet presAssocID="{AF53FC94-6693-4F20-B7DA-9B862C493EF7}" presName="hierChild4" presStyleCnt="0"/>
      <dgm:spPr/>
    </dgm:pt>
    <dgm:pt modelId="{8EB8BA92-B7DE-45E8-8D82-FB046023A82A}" type="pres">
      <dgm:prSet presAssocID="{AF53FC94-6693-4F20-B7DA-9B862C493EF7}" presName="hierChild5" presStyleCnt="0"/>
      <dgm:spPr/>
    </dgm:pt>
    <dgm:pt modelId="{8049C8B1-5F2C-4C06-929B-8B7440ED81D4}" type="pres">
      <dgm:prSet presAssocID="{BFCE6B14-E1D7-4337-84F3-33917B807147}" presName="Name37" presStyleLbl="parChTrans1D3" presStyleIdx="1" presStyleCnt="8"/>
      <dgm:spPr/>
    </dgm:pt>
    <dgm:pt modelId="{234DB78B-ECF9-4A01-9A93-5BAD12CF6988}" type="pres">
      <dgm:prSet presAssocID="{BDA98E4A-385C-4F1C-BDE0-63196B506B03}" presName="hierRoot2" presStyleCnt="0">
        <dgm:presLayoutVars>
          <dgm:hierBranch val="init"/>
        </dgm:presLayoutVars>
      </dgm:prSet>
      <dgm:spPr/>
    </dgm:pt>
    <dgm:pt modelId="{2CB18AA0-7350-4158-834C-574D5C7C0A14}" type="pres">
      <dgm:prSet presAssocID="{BDA98E4A-385C-4F1C-BDE0-63196B506B03}" presName="rootComposite" presStyleCnt="0"/>
      <dgm:spPr/>
    </dgm:pt>
    <dgm:pt modelId="{2C203965-7E35-4448-A076-6E8ECD97A2FE}" type="pres">
      <dgm:prSet presAssocID="{BDA98E4A-385C-4F1C-BDE0-63196B506B03}" presName="rootText" presStyleLbl="node3" presStyleIdx="1" presStyleCnt="8">
        <dgm:presLayoutVars>
          <dgm:chPref val="3"/>
        </dgm:presLayoutVars>
      </dgm:prSet>
      <dgm:spPr/>
    </dgm:pt>
    <dgm:pt modelId="{B71FD60F-02DD-446E-87DE-E6735A812512}" type="pres">
      <dgm:prSet presAssocID="{BDA98E4A-385C-4F1C-BDE0-63196B506B03}" presName="rootConnector" presStyleLbl="node3" presStyleIdx="1" presStyleCnt="8"/>
      <dgm:spPr/>
    </dgm:pt>
    <dgm:pt modelId="{7D0854E0-475A-4FF4-80FA-FC0983BCA81A}" type="pres">
      <dgm:prSet presAssocID="{BDA98E4A-385C-4F1C-BDE0-63196B506B03}" presName="hierChild4" presStyleCnt="0"/>
      <dgm:spPr/>
    </dgm:pt>
    <dgm:pt modelId="{D0470CB0-2FDC-4917-B852-2EAB593C285E}" type="pres">
      <dgm:prSet presAssocID="{BDA98E4A-385C-4F1C-BDE0-63196B506B03}" presName="hierChild5" presStyleCnt="0"/>
      <dgm:spPr/>
    </dgm:pt>
    <dgm:pt modelId="{094AE38E-EDC6-440F-B03F-37FE0A007F95}" type="pres">
      <dgm:prSet presAssocID="{BB06FF2F-71F1-4642-AFE3-C9BE8E6AEB31}" presName="Name37" presStyleLbl="parChTrans1D3" presStyleIdx="2" presStyleCnt="8"/>
      <dgm:spPr/>
    </dgm:pt>
    <dgm:pt modelId="{D07179B9-86AE-44C6-A2FA-B8F61A2A7B52}" type="pres">
      <dgm:prSet presAssocID="{30DF539F-FA0E-4559-B8E5-301D9503B443}" presName="hierRoot2" presStyleCnt="0">
        <dgm:presLayoutVars>
          <dgm:hierBranch val="init"/>
        </dgm:presLayoutVars>
      </dgm:prSet>
      <dgm:spPr/>
    </dgm:pt>
    <dgm:pt modelId="{7C15B1F8-BF14-4F52-8F77-237909F55FC8}" type="pres">
      <dgm:prSet presAssocID="{30DF539F-FA0E-4559-B8E5-301D9503B443}" presName="rootComposite" presStyleCnt="0"/>
      <dgm:spPr/>
    </dgm:pt>
    <dgm:pt modelId="{4EEDA2F1-1CB8-459C-AF5F-EDD4B87E38D4}" type="pres">
      <dgm:prSet presAssocID="{30DF539F-FA0E-4559-B8E5-301D9503B443}" presName="rootText" presStyleLbl="node3" presStyleIdx="2" presStyleCnt="8">
        <dgm:presLayoutVars>
          <dgm:chPref val="3"/>
        </dgm:presLayoutVars>
      </dgm:prSet>
      <dgm:spPr/>
    </dgm:pt>
    <dgm:pt modelId="{C3BCDBA6-F5BD-403D-846A-7FC69DD80D93}" type="pres">
      <dgm:prSet presAssocID="{30DF539F-FA0E-4559-B8E5-301D9503B443}" presName="rootConnector" presStyleLbl="node3" presStyleIdx="2" presStyleCnt="8"/>
      <dgm:spPr/>
    </dgm:pt>
    <dgm:pt modelId="{086FC0EA-5F15-4AD9-AACA-EA967471D99E}" type="pres">
      <dgm:prSet presAssocID="{30DF539F-FA0E-4559-B8E5-301D9503B443}" presName="hierChild4" presStyleCnt="0"/>
      <dgm:spPr/>
    </dgm:pt>
    <dgm:pt modelId="{2226FD74-78F7-4C06-9CF2-8B022A08DD43}" type="pres">
      <dgm:prSet presAssocID="{30DF539F-FA0E-4559-B8E5-301D9503B443}" presName="hierChild5" presStyleCnt="0"/>
      <dgm:spPr/>
    </dgm:pt>
    <dgm:pt modelId="{B8AA4F10-A26B-4719-8B7C-4DDC72D9C8BD}" type="pres">
      <dgm:prSet presAssocID="{401C8583-AE72-4C48-BE2B-43D6B481ED9E}" presName="hierChild5" presStyleCnt="0"/>
      <dgm:spPr/>
    </dgm:pt>
    <dgm:pt modelId="{9365B448-5442-4B8B-9762-A19A3AA388F6}" type="pres">
      <dgm:prSet presAssocID="{E80AF269-9DE5-4CF0-9BB9-9306791E16F3}" presName="Name37" presStyleLbl="parChTrans1D2" presStyleIdx="1" presStyleCnt="4"/>
      <dgm:spPr/>
    </dgm:pt>
    <dgm:pt modelId="{3B7C934F-89EA-4606-A9D3-0AF207B47179}" type="pres">
      <dgm:prSet presAssocID="{35DAAFE3-8D03-46B4-B1E4-C7E8D55DC4F4}" presName="hierRoot2" presStyleCnt="0">
        <dgm:presLayoutVars>
          <dgm:hierBranch val="init"/>
        </dgm:presLayoutVars>
      </dgm:prSet>
      <dgm:spPr/>
    </dgm:pt>
    <dgm:pt modelId="{0DA30A35-BD17-4A1E-8C7E-20FFAFE70569}" type="pres">
      <dgm:prSet presAssocID="{35DAAFE3-8D03-46B4-B1E4-C7E8D55DC4F4}" presName="rootComposite" presStyleCnt="0"/>
      <dgm:spPr/>
    </dgm:pt>
    <dgm:pt modelId="{1DB85CD9-DFD2-49B0-929A-F36CED4ECE13}" type="pres">
      <dgm:prSet presAssocID="{35DAAFE3-8D03-46B4-B1E4-C7E8D55DC4F4}" presName="rootText" presStyleLbl="node2" presStyleIdx="1" presStyleCnt="4">
        <dgm:presLayoutVars>
          <dgm:chPref val="3"/>
        </dgm:presLayoutVars>
      </dgm:prSet>
      <dgm:spPr/>
    </dgm:pt>
    <dgm:pt modelId="{34650D42-35EA-4CA6-BB44-CFA86D5D79C0}" type="pres">
      <dgm:prSet presAssocID="{35DAAFE3-8D03-46B4-B1E4-C7E8D55DC4F4}" presName="rootConnector" presStyleLbl="node2" presStyleIdx="1" presStyleCnt="4"/>
      <dgm:spPr/>
    </dgm:pt>
    <dgm:pt modelId="{9B82C46C-BDE7-4870-AE76-B0D52099A9C3}" type="pres">
      <dgm:prSet presAssocID="{35DAAFE3-8D03-46B4-B1E4-C7E8D55DC4F4}" presName="hierChild4" presStyleCnt="0"/>
      <dgm:spPr/>
    </dgm:pt>
    <dgm:pt modelId="{910CE754-474C-408C-A660-B2EF44040386}" type="pres">
      <dgm:prSet presAssocID="{212E2F1E-1A98-40EC-89CE-6B64524C90EF}" presName="Name37" presStyleLbl="parChTrans1D3" presStyleIdx="3" presStyleCnt="8"/>
      <dgm:spPr/>
    </dgm:pt>
    <dgm:pt modelId="{439E028C-BAAA-48AD-B4A8-64787B8F4237}" type="pres">
      <dgm:prSet presAssocID="{DF54325C-0FC2-4CA7-9C97-276E5B7680BA}" presName="hierRoot2" presStyleCnt="0">
        <dgm:presLayoutVars>
          <dgm:hierBranch val="init"/>
        </dgm:presLayoutVars>
      </dgm:prSet>
      <dgm:spPr/>
    </dgm:pt>
    <dgm:pt modelId="{7C050263-148E-4EFC-9F6E-3C7AC630EBA1}" type="pres">
      <dgm:prSet presAssocID="{DF54325C-0FC2-4CA7-9C97-276E5B7680BA}" presName="rootComposite" presStyleCnt="0"/>
      <dgm:spPr/>
    </dgm:pt>
    <dgm:pt modelId="{7254C196-F28B-474E-9999-48C891895CEE}" type="pres">
      <dgm:prSet presAssocID="{DF54325C-0FC2-4CA7-9C97-276E5B7680BA}" presName="rootText" presStyleLbl="node3" presStyleIdx="3" presStyleCnt="8">
        <dgm:presLayoutVars>
          <dgm:chPref val="3"/>
        </dgm:presLayoutVars>
      </dgm:prSet>
      <dgm:spPr/>
    </dgm:pt>
    <dgm:pt modelId="{AA9F26E1-02E0-43F1-BE7D-C2F72E2C890A}" type="pres">
      <dgm:prSet presAssocID="{DF54325C-0FC2-4CA7-9C97-276E5B7680BA}" presName="rootConnector" presStyleLbl="node3" presStyleIdx="3" presStyleCnt="8"/>
      <dgm:spPr/>
    </dgm:pt>
    <dgm:pt modelId="{F9C774AE-30D4-44BA-BDA7-4ADE09DC0A9C}" type="pres">
      <dgm:prSet presAssocID="{DF54325C-0FC2-4CA7-9C97-276E5B7680BA}" presName="hierChild4" presStyleCnt="0"/>
      <dgm:spPr/>
    </dgm:pt>
    <dgm:pt modelId="{17CC3646-36BF-4635-AF3B-3F4B63E22568}" type="pres">
      <dgm:prSet presAssocID="{DF54325C-0FC2-4CA7-9C97-276E5B7680BA}" presName="hierChild5" presStyleCnt="0"/>
      <dgm:spPr/>
    </dgm:pt>
    <dgm:pt modelId="{EE142306-4318-4B7F-A13F-C0344AC4B095}" type="pres">
      <dgm:prSet presAssocID="{845561F0-8804-415D-9E68-7E2122945AD9}" presName="Name37" presStyleLbl="parChTrans1D3" presStyleIdx="4" presStyleCnt="8"/>
      <dgm:spPr/>
    </dgm:pt>
    <dgm:pt modelId="{DEEA13C1-10DD-4FC5-9D6B-6ABECF75106C}" type="pres">
      <dgm:prSet presAssocID="{618768B6-B9D4-404F-B819-D491CD90433B}" presName="hierRoot2" presStyleCnt="0">
        <dgm:presLayoutVars>
          <dgm:hierBranch val="init"/>
        </dgm:presLayoutVars>
      </dgm:prSet>
      <dgm:spPr/>
    </dgm:pt>
    <dgm:pt modelId="{E639EC34-DB6A-46ED-8CD0-799DE1FB989C}" type="pres">
      <dgm:prSet presAssocID="{618768B6-B9D4-404F-B819-D491CD90433B}" presName="rootComposite" presStyleCnt="0"/>
      <dgm:spPr/>
    </dgm:pt>
    <dgm:pt modelId="{6DD4EC99-A54D-4022-A278-0404F9ADCF4A}" type="pres">
      <dgm:prSet presAssocID="{618768B6-B9D4-404F-B819-D491CD90433B}" presName="rootText" presStyleLbl="node3" presStyleIdx="4" presStyleCnt="8">
        <dgm:presLayoutVars>
          <dgm:chPref val="3"/>
        </dgm:presLayoutVars>
      </dgm:prSet>
      <dgm:spPr/>
    </dgm:pt>
    <dgm:pt modelId="{F91C6B27-0C13-4B60-91EE-38D19B034B69}" type="pres">
      <dgm:prSet presAssocID="{618768B6-B9D4-404F-B819-D491CD90433B}" presName="rootConnector" presStyleLbl="node3" presStyleIdx="4" presStyleCnt="8"/>
      <dgm:spPr/>
    </dgm:pt>
    <dgm:pt modelId="{55F7BCA1-1B80-4354-AC0F-642032075A42}" type="pres">
      <dgm:prSet presAssocID="{618768B6-B9D4-404F-B819-D491CD90433B}" presName="hierChild4" presStyleCnt="0"/>
      <dgm:spPr/>
    </dgm:pt>
    <dgm:pt modelId="{30691E19-8021-4E03-B220-A0B0E6EBA937}" type="pres">
      <dgm:prSet presAssocID="{618768B6-B9D4-404F-B819-D491CD90433B}" presName="hierChild5" presStyleCnt="0"/>
      <dgm:spPr/>
    </dgm:pt>
    <dgm:pt modelId="{E1622506-EE76-413F-AAA7-3C467B03F740}" type="pres">
      <dgm:prSet presAssocID="{35DAAFE3-8D03-46B4-B1E4-C7E8D55DC4F4}" presName="hierChild5" presStyleCnt="0"/>
      <dgm:spPr/>
    </dgm:pt>
    <dgm:pt modelId="{0678172B-7756-4037-B56C-898CCCAD9DAF}" type="pres">
      <dgm:prSet presAssocID="{98429385-415E-4A01-8CAE-FF0AF7E4AFEF}" presName="Name37" presStyleLbl="parChTrans1D2" presStyleIdx="2" presStyleCnt="4"/>
      <dgm:spPr/>
    </dgm:pt>
    <dgm:pt modelId="{8E527F67-9A0E-4C90-8D82-107F77C7AB8E}" type="pres">
      <dgm:prSet presAssocID="{B3E363D0-D092-4EE1-8EC6-A6B6EDB54C11}" presName="hierRoot2" presStyleCnt="0">
        <dgm:presLayoutVars>
          <dgm:hierBranch val="init"/>
        </dgm:presLayoutVars>
      </dgm:prSet>
      <dgm:spPr/>
    </dgm:pt>
    <dgm:pt modelId="{D3E681BB-FA76-4336-96A0-17E31EF067A6}" type="pres">
      <dgm:prSet presAssocID="{B3E363D0-D092-4EE1-8EC6-A6B6EDB54C11}" presName="rootComposite" presStyleCnt="0"/>
      <dgm:spPr/>
    </dgm:pt>
    <dgm:pt modelId="{87F5EB53-3D92-494F-A486-C64735492BDF}" type="pres">
      <dgm:prSet presAssocID="{B3E363D0-D092-4EE1-8EC6-A6B6EDB54C11}" presName="rootText" presStyleLbl="node2" presStyleIdx="2" presStyleCnt="4">
        <dgm:presLayoutVars>
          <dgm:chPref val="3"/>
        </dgm:presLayoutVars>
      </dgm:prSet>
      <dgm:spPr/>
    </dgm:pt>
    <dgm:pt modelId="{A65F8493-18F8-43ED-9D54-80037F0F35F3}" type="pres">
      <dgm:prSet presAssocID="{B3E363D0-D092-4EE1-8EC6-A6B6EDB54C11}" presName="rootConnector" presStyleLbl="node2" presStyleIdx="2" presStyleCnt="4"/>
      <dgm:spPr/>
    </dgm:pt>
    <dgm:pt modelId="{F9E448C9-B1DB-451E-BE3D-CB47C062A5E4}" type="pres">
      <dgm:prSet presAssocID="{B3E363D0-D092-4EE1-8EC6-A6B6EDB54C11}" presName="hierChild4" presStyleCnt="0"/>
      <dgm:spPr/>
    </dgm:pt>
    <dgm:pt modelId="{EAB7AD1F-776A-4478-9EA2-8B3D99991DBD}" type="pres">
      <dgm:prSet presAssocID="{AE537436-43C2-439C-8F48-1A68F520B7FC}" presName="Name37" presStyleLbl="parChTrans1D3" presStyleIdx="5" presStyleCnt="8"/>
      <dgm:spPr/>
    </dgm:pt>
    <dgm:pt modelId="{09099A0B-0E42-414A-AA5B-61D4350279A2}" type="pres">
      <dgm:prSet presAssocID="{B4A7DC82-2AE7-4B75-8576-AF9BC407C17B}" presName="hierRoot2" presStyleCnt="0">
        <dgm:presLayoutVars>
          <dgm:hierBranch val="init"/>
        </dgm:presLayoutVars>
      </dgm:prSet>
      <dgm:spPr/>
    </dgm:pt>
    <dgm:pt modelId="{754CD06A-C077-4F0F-B613-CE2FF30C8B10}" type="pres">
      <dgm:prSet presAssocID="{B4A7DC82-2AE7-4B75-8576-AF9BC407C17B}" presName="rootComposite" presStyleCnt="0"/>
      <dgm:spPr/>
    </dgm:pt>
    <dgm:pt modelId="{EB4D098F-DE29-4B9F-A01D-C0DFB086204B}" type="pres">
      <dgm:prSet presAssocID="{B4A7DC82-2AE7-4B75-8576-AF9BC407C17B}" presName="rootText" presStyleLbl="node3" presStyleIdx="5" presStyleCnt="8">
        <dgm:presLayoutVars>
          <dgm:chPref val="3"/>
        </dgm:presLayoutVars>
      </dgm:prSet>
      <dgm:spPr/>
    </dgm:pt>
    <dgm:pt modelId="{924DED77-1A25-4888-8287-DF97AF8298DC}" type="pres">
      <dgm:prSet presAssocID="{B4A7DC82-2AE7-4B75-8576-AF9BC407C17B}" presName="rootConnector" presStyleLbl="node3" presStyleIdx="5" presStyleCnt="8"/>
      <dgm:spPr/>
    </dgm:pt>
    <dgm:pt modelId="{B242CFAC-5449-47DF-A0BB-33B691517E5F}" type="pres">
      <dgm:prSet presAssocID="{B4A7DC82-2AE7-4B75-8576-AF9BC407C17B}" presName="hierChild4" presStyleCnt="0"/>
      <dgm:spPr/>
    </dgm:pt>
    <dgm:pt modelId="{66881D45-9992-4CD3-856C-FDC0F5F3CDF8}" type="pres">
      <dgm:prSet presAssocID="{B4A7DC82-2AE7-4B75-8576-AF9BC407C17B}" presName="hierChild5" presStyleCnt="0"/>
      <dgm:spPr/>
    </dgm:pt>
    <dgm:pt modelId="{BEE38E0E-FC86-4717-B84A-AD455AA69557}" type="pres">
      <dgm:prSet presAssocID="{B3E363D0-D092-4EE1-8EC6-A6B6EDB54C11}" presName="hierChild5" presStyleCnt="0"/>
      <dgm:spPr/>
    </dgm:pt>
    <dgm:pt modelId="{EF293A95-9077-412A-9B0C-588860019670}" type="pres">
      <dgm:prSet presAssocID="{C795F2B8-A991-4651-841E-7E988AF27F23}" presName="Name37" presStyleLbl="parChTrans1D2" presStyleIdx="3" presStyleCnt="4"/>
      <dgm:spPr/>
    </dgm:pt>
    <dgm:pt modelId="{3B2CD6BF-C8EC-44E5-AC5C-63FDE59AA6CE}" type="pres">
      <dgm:prSet presAssocID="{FC8DB6F7-9735-4516-9185-EB8C2A81C2DC}" presName="hierRoot2" presStyleCnt="0">
        <dgm:presLayoutVars>
          <dgm:hierBranch val="init"/>
        </dgm:presLayoutVars>
      </dgm:prSet>
      <dgm:spPr/>
    </dgm:pt>
    <dgm:pt modelId="{83DB0056-206E-4710-B37B-E03F1E26D587}" type="pres">
      <dgm:prSet presAssocID="{FC8DB6F7-9735-4516-9185-EB8C2A81C2DC}" presName="rootComposite" presStyleCnt="0"/>
      <dgm:spPr/>
    </dgm:pt>
    <dgm:pt modelId="{8A36E7A3-93F6-4CE0-9348-DA5FFDDAA053}" type="pres">
      <dgm:prSet presAssocID="{FC8DB6F7-9735-4516-9185-EB8C2A81C2DC}" presName="rootText" presStyleLbl="node2" presStyleIdx="3" presStyleCnt="4">
        <dgm:presLayoutVars>
          <dgm:chPref val="3"/>
        </dgm:presLayoutVars>
      </dgm:prSet>
      <dgm:spPr/>
    </dgm:pt>
    <dgm:pt modelId="{346210DD-1BE2-40DD-8623-0D5E5A50118E}" type="pres">
      <dgm:prSet presAssocID="{FC8DB6F7-9735-4516-9185-EB8C2A81C2DC}" presName="rootConnector" presStyleLbl="node2" presStyleIdx="3" presStyleCnt="4"/>
      <dgm:spPr/>
    </dgm:pt>
    <dgm:pt modelId="{834E6D38-2751-464C-9248-D03B57835773}" type="pres">
      <dgm:prSet presAssocID="{FC8DB6F7-9735-4516-9185-EB8C2A81C2DC}" presName="hierChild4" presStyleCnt="0"/>
      <dgm:spPr/>
    </dgm:pt>
    <dgm:pt modelId="{5F0E5AF5-7430-4B00-8BB3-FF4A0778A6ED}" type="pres">
      <dgm:prSet presAssocID="{236D0E1B-13CE-402F-882F-AA167D72AB35}" presName="Name37" presStyleLbl="parChTrans1D3" presStyleIdx="6" presStyleCnt="8"/>
      <dgm:spPr/>
    </dgm:pt>
    <dgm:pt modelId="{D3889135-6E97-4290-8B5A-77A5D4C00E33}" type="pres">
      <dgm:prSet presAssocID="{47CAE6BD-AADA-43DF-8759-34998FAF52D1}" presName="hierRoot2" presStyleCnt="0">
        <dgm:presLayoutVars>
          <dgm:hierBranch val="init"/>
        </dgm:presLayoutVars>
      </dgm:prSet>
      <dgm:spPr/>
    </dgm:pt>
    <dgm:pt modelId="{99C62C81-D5DB-4752-AD3C-F8C9CCF47B50}" type="pres">
      <dgm:prSet presAssocID="{47CAE6BD-AADA-43DF-8759-34998FAF52D1}" presName="rootComposite" presStyleCnt="0"/>
      <dgm:spPr/>
    </dgm:pt>
    <dgm:pt modelId="{43BADCEF-1B9D-4226-A33B-49BF0568089A}" type="pres">
      <dgm:prSet presAssocID="{47CAE6BD-AADA-43DF-8759-34998FAF52D1}" presName="rootText" presStyleLbl="node3" presStyleIdx="6" presStyleCnt="8">
        <dgm:presLayoutVars>
          <dgm:chPref val="3"/>
        </dgm:presLayoutVars>
      </dgm:prSet>
      <dgm:spPr/>
    </dgm:pt>
    <dgm:pt modelId="{6817C78B-FB91-4F72-BDEA-69AAB3D6A6F0}" type="pres">
      <dgm:prSet presAssocID="{47CAE6BD-AADA-43DF-8759-34998FAF52D1}" presName="rootConnector" presStyleLbl="node3" presStyleIdx="6" presStyleCnt="8"/>
      <dgm:spPr/>
    </dgm:pt>
    <dgm:pt modelId="{98C3A07E-44A7-4FF6-BADD-9E573DB50654}" type="pres">
      <dgm:prSet presAssocID="{47CAE6BD-AADA-43DF-8759-34998FAF52D1}" presName="hierChild4" presStyleCnt="0"/>
      <dgm:spPr/>
    </dgm:pt>
    <dgm:pt modelId="{975A5876-A40D-4AC4-B6CC-9E58C78D0CDD}" type="pres">
      <dgm:prSet presAssocID="{47CAE6BD-AADA-43DF-8759-34998FAF52D1}" presName="hierChild5" presStyleCnt="0"/>
      <dgm:spPr/>
    </dgm:pt>
    <dgm:pt modelId="{1671728D-D2DF-4A9A-90B4-F528C6E86A5C}" type="pres">
      <dgm:prSet presAssocID="{1A9971CC-E426-4AEB-B78A-DD7E281FA645}" presName="Name37" presStyleLbl="parChTrans1D3" presStyleIdx="7" presStyleCnt="8"/>
      <dgm:spPr/>
    </dgm:pt>
    <dgm:pt modelId="{698FC1D0-ACF4-4B93-AC6D-7AE82DC5275F}" type="pres">
      <dgm:prSet presAssocID="{71F5C080-20F7-4506-9D44-39DF831A7FA3}" presName="hierRoot2" presStyleCnt="0">
        <dgm:presLayoutVars>
          <dgm:hierBranch val="init"/>
        </dgm:presLayoutVars>
      </dgm:prSet>
      <dgm:spPr/>
    </dgm:pt>
    <dgm:pt modelId="{01292F4E-EF57-47B1-85F8-8B1F8409B543}" type="pres">
      <dgm:prSet presAssocID="{71F5C080-20F7-4506-9D44-39DF831A7FA3}" presName="rootComposite" presStyleCnt="0"/>
      <dgm:spPr/>
    </dgm:pt>
    <dgm:pt modelId="{DB13C183-0F06-4D26-9EAB-91F319AE3FB0}" type="pres">
      <dgm:prSet presAssocID="{71F5C080-20F7-4506-9D44-39DF831A7FA3}" presName="rootText" presStyleLbl="node3" presStyleIdx="7" presStyleCnt="8">
        <dgm:presLayoutVars>
          <dgm:chPref val="3"/>
        </dgm:presLayoutVars>
      </dgm:prSet>
      <dgm:spPr/>
    </dgm:pt>
    <dgm:pt modelId="{14F71D84-F1D8-4A8E-8633-B60868E77C2B}" type="pres">
      <dgm:prSet presAssocID="{71F5C080-20F7-4506-9D44-39DF831A7FA3}" presName="rootConnector" presStyleLbl="node3" presStyleIdx="7" presStyleCnt="8"/>
      <dgm:spPr/>
    </dgm:pt>
    <dgm:pt modelId="{939884ED-8AE7-4EC4-94DE-5F56FF074FAB}" type="pres">
      <dgm:prSet presAssocID="{71F5C080-20F7-4506-9D44-39DF831A7FA3}" presName="hierChild4" presStyleCnt="0"/>
      <dgm:spPr/>
    </dgm:pt>
    <dgm:pt modelId="{5609950E-9D2F-4741-98C5-8F1678C771FD}" type="pres">
      <dgm:prSet presAssocID="{71F5C080-20F7-4506-9D44-39DF831A7FA3}" presName="hierChild5" presStyleCnt="0"/>
      <dgm:spPr/>
    </dgm:pt>
    <dgm:pt modelId="{2FD86F37-FC4E-432D-8F37-8A90A792475C}" type="pres">
      <dgm:prSet presAssocID="{FC8DB6F7-9735-4516-9185-EB8C2A81C2DC}" presName="hierChild5" presStyleCnt="0"/>
      <dgm:spPr/>
    </dgm:pt>
    <dgm:pt modelId="{7364A058-A11B-4FCC-A667-4D774DFD38E3}" type="pres">
      <dgm:prSet presAssocID="{54977309-A2A8-4436-B3C3-014445608BEA}" presName="hierChild3" presStyleCnt="0"/>
      <dgm:spPr/>
    </dgm:pt>
  </dgm:ptLst>
  <dgm:cxnLst>
    <dgm:cxn modelId="{C8DD8202-1A0B-42C0-971B-FBF118425994}" type="presOf" srcId="{DF54325C-0FC2-4CA7-9C97-276E5B7680BA}" destId="{7254C196-F28B-474E-9999-48C891895CEE}" srcOrd="0" destOrd="0" presId="urn:microsoft.com/office/officeart/2005/8/layout/orgChart1"/>
    <dgm:cxn modelId="{C20C2808-C7C1-4E95-97AB-7FEB7D27E8AB}" type="presOf" srcId="{AF53FC94-6693-4F20-B7DA-9B862C493EF7}" destId="{621C02F1-4CAA-4236-8ADF-785DFCEDBB6B}" srcOrd="1" destOrd="0" presId="urn:microsoft.com/office/officeart/2005/8/layout/orgChart1"/>
    <dgm:cxn modelId="{CC19120E-A069-4EE2-BA17-D0803BBE0B2E}" type="presOf" srcId="{1A9971CC-E426-4AEB-B78A-DD7E281FA645}" destId="{1671728D-D2DF-4A9A-90B4-F528C6E86A5C}" srcOrd="0" destOrd="0" presId="urn:microsoft.com/office/officeart/2005/8/layout/orgChart1"/>
    <dgm:cxn modelId="{11ABD90E-6B06-4200-A9C1-F76192790868}" srcId="{54977309-A2A8-4436-B3C3-014445608BEA}" destId="{401C8583-AE72-4C48-BE2B-43D6B481ED9E}" srcOrd="0" destOrd="0" parTransId="{1D2BBC15-C203-4C54-8B9A-BE28B3E12AC0}" sibTransId="{DD777E3C-812D-4F70-B8F1-BE6B94C89480}"/>
    <dgm:cxn modelId="{E85FF20E-F56C-4FA9-894D-46DE25A5B3A6}" type="presOf" srcId="{98429385-415E-4A01-8CAE-FF0AF7E4AFEF}" destId="{0678172B-7756-4037-B56C-898CCCAD9DAF}" srcOrd="0" destOrd="0" presId="urn:microsoft.com/office/officeart/2005/8/layout/orgChart1"/>
    <dgm:cxn modelId="{A1386910-1DFF-4D69-8AC5-7A5B81887D36}" type="presOf" srcId="{35DAAFE3-8D03-46B4-B1E4-C7E8D55DC4F4}" destId="{1DB85CD9-DFD2-49B0-929A-F36CED4ECE13}" srcOrd="0" destOrd="0" presId="urn:microsoft.com/office/officeart/2005/8/layout/orgChart1"/>
    <dgm:cxn modelId="{558DE312-C84D-4884-BCE6-E4F7412D98A8}" type="presOf" srcId="{AF53FC94-6693-4F20-B7DA-9B862C493EF7}" destId="{75C47290-EA2D-457D-83B9-A9558ADDE70C}" srcOrd="0" destOrd="0" presId="urn:microsoft.com/office/officeart/2005/8/layout/orgChart1"/>
    <dgm:cxn modelId="{AE63FF16-698C-4A41-BD6A-71305CC9DBF4}" type="presOf" srcId="{618768B6-B9D4-404F-B819-D491CD90433B}" destId="{F91C6B27-0C13-4B60-91EE-38D19B034B69}" srcOrd="1" destOrd="0" presId="urn:microsoft.com/office/officeart/2005/8/layout/orgChart1"/>
    <dgm:cxn modelId="{6F45981C-0534-4EB0-9614-0ECB4A63F634}" type="presOf" srcId="{BFCE6B14-E1D7-4337-84F3-33917B807147}" destId="{8049C8B1-5F2C-4C06-929B-8B7440ED81D4}" srcOrd="0" destOrd="0" presId="urn:microsoft.com/office/officeart/2005/8/layout/orgChart1"/>
    <dgm:cxn modelId="{7C5F9635-C9B4-4BAD-8E3D-AC14C46BC226}" type="presOf" srcId="{1D2BBC15-C203-4C54-8B9A-BE28B3E12AC0}" destId="{C59839C6-5A92-479E-BADE-056DC40BC949}" srcOrd="0" destOrd="0" presId="urn:microsoft.com/office/officeart/2005/8/layout/orgChart1"/>
    <dgm:cxn modelId="{AD8C8236-F455-438A-AE4E-33E0C11DA3BF}" type="presOf" srcId="{B4A7DC82-2AE7-4B75-8576-AF9BC407C17B}" destId="{EB4D098F-DE29-4B9F-A01D-C0DFB086204B}" srcOrd="0" destOrd="0" presId="urn:microsoft.com/office/officeart/2005/8/layout/orgChart1"/>
    <dgm:cxn modelId="{24DCF938-E31B-4E51-A8EF-8A4855368473}" srcId="{401C8583-AE72-4C48-BE2B-43D6B481ED9E}" destId="{AF53FC94-6693-4F20-B7DA-9B862C493EF7}" srcOrd="0" destOrd="0" parTransId="{09726A78-CD1A-4D0D-AADC-2AC445E0E584}" sibTransId="{CE2E5DB4-F820-4964-A15F-25D8FFD3EF98}"/>
    <dgm:cxn modelId="{058FB340-AFD4-4423-AFDA-F673B72B3DBB}" srcId="{B3E363D0-D092-4EE1-8EC6-A6B6EDB54C11}" destId="{B4A7DC82-2AE7-4B75-8576-AF9BC407C17B}" srcOrd="0" destOrd="0" parTransId="{AE537436-43C2-439C-8F48-1A68F520B7FC}" sibTransId="{EB7AB172-CC2B-4333-B5FD-5F8FDC81EB5E}"/>
    <dgm:cxn modelId="{D7F6975C-9FFB-4F7D-AEA9-71CE462AE41C}" type="presOf" srcId="{B3E363D0-D092-4EE1-8EC6-A6B6EDB54C11}" destId="{A65F8493-18F8-43ED-9D54-80037F0F35F3}" srcOrd="1" destOrd="0" presId="urn:microsoft.com/office/officeart/2005/8/layout/orgChart1"/>
    <dgm:cxn modelId="{6A345D5D-C2C5-4360-AFE2-F9305FF22AD8}" srcId="{47DE9027-6EA5-4ACF-8186-ED327E0CAA21}" destId="{54977309-A2A8-4436-B3C3-014445608BEA}" srcOrd="0" destOrd="0" parTransId="{EBCCACCA-99BD-490D-A935-E6DFDC052EE8}" sibTransId="{A34688E7-6E38-46B2-AF28-88BCCAFCBDB8}"/>
    <dgm:cxn modelId="{964B535D-B203-4CDD-BB98-192F87BE30ED}" type="presOf" srcId="{35DAAFE3-8D03-46B4-B1E4-C7E8D55DC4F4}" destId="{34650D42-35EA-4CA6-BB44-CFA86D5D79C0}" srcOrd="1" destOrd="0" presId="urn:microsoft.com/office/officeart/2005/8/layout/orgChart1"/>
    <dgm:cxn modelId="{484E8841-3061-422A-BA3B-54527D113E4A}" type="presOf" srcId="{09726A78-CD1A-4D0D-AADC-2AC445E0E584}" destId="{D5CCC0A3-6191-4F16-94E8-D744F2256755}" srcOrd="0" destOrd="0" presId="urn:microsoft.com/office/officeart/2005/8/layout/orgChart1"/>
    <dgm:cxn modelId="{745CE142-2B08-4463-BB4A-D994E93FD8CD}" type="presOf" srcId="{71F5C080-20F7-4506-9D44-39DF831A7FA3}" destId="{DB13C183-0F06-4D26-9EAB-91F319AE3FB0}" srcOrd="0" destOrd="0" presId="urn:microsoft.com/office/officeart/2005/8/layout/orgChart1"/>
    <dgm:cxn modelId="{B5333A64-B6A7-4E35-B208-6426AE2706D3}" type="presOf" srcId="{54977309-A2A8-4436-B3C3-014445608BEA}" destId="{2788370D-4F45-4C86-B0DE-46F155D5222F}" srcOrd="0" destOrd="0" presId="urn:microsoft.com/office/officeart/2005/8/layout/orgChart1"/>
    <dgm:cxn modelId="{47AE254D-813A-4F45-A5D9-42D0EE31A993}" type="presOf" srcId="{401C8583-AE72-4C48-BE2B-43D6B481ED9E}" destId="{0532D051-D6E0-4281-8EA7-B444740B0C17}" srcOrd="0" destOrd="0" presId="urn:microsoft.com/office/officeart/2005/8/layout/orgChart1"/>
    <dgm:cxn modelId="{0B07A66D-9CC1-4BB9-B512-ADFA454253F9}" type="presOf" srcId="{B4A7DC82-2AE7-4B75-8576-AF9BC407C17B}" destId="{924DED77-1A25-4888-8287-DF97AF8298DC}" srcOrd="1" destOrd="0" presId="urn:microsoft.com/office/officeart/2005/8/layout/orgChart1"/>
    <dgm:cxn modelId="{D5E5F96D-2C8A-475B-8A3A-21107335CE83}" type="presOf" srcId="{618768B6-B9D4-404F-B819-D491CD90433B}" destId="{6DD4EC99-A54D-4022-A278-0404F9ADCF4A}" srcOrd="0" destOrd="0" presId="urn:microsoft.com/office/officeart/2005/8/layout/orgChart1"/>
    <dgm:cxn modelId="{17AC306E-FC2D-4E1B-9B8B-568AD02B469F}" srcId="{401C8583-AE72-4C48-BE2B-43D6B481ED9E}" destId="{BDA98E4A-385C-4F1C-BDE0-63196B506B03}" srcOrd="1" destOrd="0" parTransId="{BFCE6B14-E1D7-4337-84F3-33917B807147}" sibTransId="{D5825577-D472-471B-BD24-121664579460}"/>
    <dgm:cxn modelId="{9C82CA52-7E01-4921-9766-86D4F3B57D16}" type="presOf" srcId="{236D0E1B-13CE-402F-882F-AA167D72AB35}" destId="{5F0E5AF5-7430-4B00-8BB3-FF4A0778A6ED}" srcOrd="0" destOrd="0" presId="urn:microsoft.com/office/officeart/2005/8/layout/orgChart1"/>
    <dgm:cxn modelId="{406A2753-A6DE-4D5D-B47D-C58D5BE88798}" type="presOf" srcId="{DF54325C-0FC2-4CA7-9C97-276E5B7680BA}" destId="{AA9F26E1-02E0-43F1-BE7D-C2F72E2C890A}" srcOrd="1" destOrd="0" presId="urn:microsoft.com/office/officeart/2005/8/layout/orgChart1"/>
    <dgm:cxn modelId="{514E1B74-2442-4CF1-96CC-6ACF8BE54AEE}" srcId="{35DAAFE3-8D03-46B4-B1E4-C7E8D55DC4F4}" destId="{DF54325C-0FC2-4CA7-9C97-276E5B7680BA}" srcOrd="0" destOrd="0" parTransId="{212E2F1E-1A98-40EC-89CE-6B64524C90EF}" sibTransId="{6781F3F5-F3A9-4001-92A4-7ABA2C8F317E}"/>
    <dgm:cxn modelId="{1DA6C754-6E4F-48E6-B98E-8EDBDD55465B}" type="presOf" srcId="{C795F2B8-A991-4651-841E-7E988AF27F23}" destId="{EF293A95-9077-412A-9B0C-588860019670}" srcOrd="0" destOrd="0" presId="urn:microsoft.com/office/officeart/2005/8/layout/orgChart1"/>
    <dgm:cxn modelId="{1E603275-0B40-4301-8E3F-8BE7BE5EE3CE}" type="presOf" srcId="{47DE9027-6EA5-4ACF-8186-ED327E0CAA21}" destId="{93696BEB-07BC-4A87-8B5F-190870361ED0}" srcOrd="0" destOrd="0" presId="urn:microsoft.com/office/officeart/2005/8/layout/orgChart1"/>
    <dgm:cxn modelId="{24972D58-9358-418A-A664-39768F42FF70}" srcId="{54977309-A2A8-4436-B3C3-014445608BEA}" destId="{FC8DB6F7-9735-4516-9185-EB8C2A81C2DC}" srcOrd="3" destOrd="0" parTransId="{C795F2B8-A991-4651-841E-7E988AF27F23}" sibTransId="{0D7F64D7-E121-4EF4-985A-559D2CFB5ABE}"/>
    <dgm:cxn modelId="{D237577D-44D5-424C-A005-3C2380AC3147}" type="presOf" srcId="{54977309-A2A8-4436-B3C3-014445608BEA}" destId="{8E615763-9ACF-45A0-8764-D52C12EFC6BE}" srcOrd="1" destOrd="0" presId="urn:microsoft.com/office/officeart/2005/8/layout/orgChart1"/>
    <dgm:cxn modelId="{1251147F-189F-44C9-A173-9077F15768E7}" type="presOf" srcId="{212E2F1E-1A98-40EC-89CE-6B64524C90EF}" destId="{910CE754-474C-408C-A660-B2EF44040386}" srcOrd="0" destOrd="0" presId="urn:microsoft.com/office/officeart/2005/8/layout/orgChart1"/>
    <dgm:cxn modelId="{8B51888D-2515-49E4-9BBF-78CCC3828710}" type="presOf" srcId="{B3E363D0-D092-4EE1-8EC6-A6B6EDB54C11}" destId="{87F5EB53-3D92-494F-A486-C64735492BDF}" srcOrd="0" destOrd="0" presId="urn:microsoft.com/office/officeart/2005/8/layout/orgChart1"/>
    <dgm:cxn modelId="{AFE05690-3898-48BC-8084-D7BD07227412}" type="presOf" srcId="{AE537436-43C2-439C-8F48-1A68F520B7FC}" destId="{EAB7AD1F-776A-4478-9EA2-8B3D99991DBD}" srcOrd="0" destOrd="0" presId="urn:microsoft.com/office/officeart/2005/8/layout/orgChart1"/>
    <dgm:cxn modelId="{4BE68F9A-1326-4A34-A705-C49AD614A8B2}" type="presOf" srcId="{BB06FF2F-71F1-4642-AFE3-C9BE8E6AEB31}" destId="{094AE38E-EDC6-440F-B03F-37FE0A007F95}" srcOrd="0" destOrd="0" presId="urn:microsoft.com/office/officeart/2005/8/layout/orgChart1"/>
    <dgm:cxn modelId="{2487FD9A-5C27-418B-A259-596E69085BF5}" type="presOf" srcId="{71F5C080-20F7-4506-9D44-39DF831A7FA3}" destId="{14F71D84-F1D8-4A8E-8633-B60868E77C2B}" srcOrd="1" destOrd="0" presId="urn:microsoft.com/office/officeart/2005/8/layout/orgChart1"/>
    <dgm:cxn modelId="{187AB3A2-6FB4-4D62-89B2-C6EC3F764EFC}" srcId="{54977309-A2A8-4436-B3C3-014445608BEA}" destId="{35DAAFE3-8D03-46B4-B1E4-C7E8D55DC4F4}" srcOrd="1" destOrd="0" parTransId="{E80AF269-9DE5-4CF0-9BB9-9306791E16F3}" sibTransId="{5A5AB495-CA8A-4FA8-930C-2022AB37C446}"/>
    <dgm:cxn modelId="{EDB0F6A2-D5E5-43AF-96AD-00DE2DCADBB2}" type="presOf" srcId="{845561F0-8804-415D-9E68-7E2122945AD9}" destId="{EE142306-4318-4B7F-A13F-C0344AC4B095}" srcOrd="0" destOrd="0" presId="urn:microsoft.com/office/officeart/2005/8/layout/orgChart1"/>
    <dgm:cxn modelId="{A8D452AE-F09D-4C17-985E-43DCAFDC390C}" srcId="{35DAAFE3-8D03-46B4-B1E4-C7E8D55DC4F4}" destId="{618768B6-B9D4-404F-B819-D491CD90433B}" srcOrd="1" destOrd="0" parTransId="{845561F0-8804-415D-9E68-7E2122945AD9}" sibTransId="{999A2150-98CF-40EE-9677-BF6D77F0F529}"/>
    <dgm:cxn modelId="{EFCD45B4-EBEB-4B11-83D6-55F958DC2965}" type="presOf" srcId="{BDA98E4A-385C-4F1C-BDE0-63196B506B03}" destId="{2C203965-7E35-4448-A076-6E8ECD97A2FE}" srcOrd="0" destOrd="0" presId="urn:microsoft.com/office/officeart/2005/8/layout/orgChart1"/>
    <dgm:cxn modelId="{6B0507C9-FA47-4224-987E-EBBAEE740FB4}" srcId="{FC8DB6F7-9735-4516-9185-EB8C2A81C2DC}" destId="{47CAE6BD-AADA-43DF-8759-34998FAF52D1}" srcOrd="0" destOrd="0" parTransId="{236D0E1B-13CE-402F-882F-AA167D72AB35}" sibTransId="{4BEEA2F9-32CC-4382-BE11-A32A31714ADF}"/>
    <dgm:cxn modelId="{534A02CC-2F26-4093-9482-B8827ABA558E}" type="presOf" srcId="{401C8583-AE72-4C48-BE2B-43D6B481ED9E}" destId="{4DE024C9-9834-4C3D-A1C7-976BE6B46BBD}" srcOrd="1" destOrd="0" presId="urn:microsoft.com/office/officeart/2005/8/layout/orgChart1"/>
    <dgm:cxn modelId="{A9DCB1D1-153E-4533-8A23-F502E3D5D83B}" srcId="{FC8DB6F7-9735-4516-9185-EB8C2A81C2DC}" destId="{71F5C080-20F7-4506-9D44-39DF831A7FA3}" srcOrd="1" destOrd="0" parTransId="{1A9971CC-E426-4AEB-B78A-DD7E281FA645}" sibTransId="{F2E3EF4D-4BBB-4020-8321-BB190AA16830}"/>
    <dgm:cxn modelId="{C98E77D6-5227-4A18-8AEE-51235994AFCE}" type="presOf" srcId="{47CAE6BD-AADA-43DF-8759-34998FAF52D1}" destId="{43BADCEF-1B9D-4226-A33B-49BF0568089A}" srcOrd="0" destOrd="0" presId="urn:microsoft.com/office/officeart/2005/8/layout/orgChart1"/>
    <dgm:cxn modelId="{245662DC-DED8-4B64-A035-102738FED9B9}" srcId="{54977309-A2A8-4436-B3C3-014445608BEA}" destId="{B3E363D0-D092-4EE1-8EC6-A6B6EDB54C11}" srcOrd="2" destOrd="0" parTransId="{98429385-415E-4A01-8CAE-FF0AF7E4AFEF}" sibTransId="{662141E8-8122-446E-8865-0379209B60BA}"/>
    <dgm:cxn modelId="{1B3528DD-5886-4931-886F-704F6F04DF2F}" type="presOf" srcId="{FC8DB6F7-9735-4516-9185-EB8C2A81C2DC}" destId="{346210DD-1BE2-40DD-8623-0D5E5A50118E}" srcOrd="1" destOrd="0" presId="urn:microsoft.com/office/officeart/2005/8/layout/orgChart1"/>
    <dgm:cxn modelId="{1CEA37DF-2533-4043-AD2B-DF5C77A4C028}" type="presOf" srcId="{E80AF269-9DE5-4CF0-9BB9-9306791E16F3}" destId="{9365B448-5442-4B8B-9762-A19A3AA388F6}" srcOrd="0" destOrd="0" presId="urn:microsoft.com/office/officeart/2005/8/layout/orgChart1"/>
    <dgm:cxn modelId="{366C24E1-F627-4612-93B8-A114FEC95F42}" type="presOf" srcId="{30DF539F-FA0E-4559-B8E5-301D9503B443}" destId="{C3BCDBA6-F5BD-403D-846A-7FC69DD80D93}" srcOrd="1" destOrd="0" presId="urn:microsoft.com/office/officeart/2005/8/layout/orgChart1"/>
    <dgm:cxn modelId="{B48BA3E6-AF5D-4E83-9DDB-EC7447A083A0}" type="presOf" srcId="{FC8DB6F7-9735-4516-9185-EB8C2A81C2DC}" destId="{8A36E7A3-93F6-4CE0-9348-DA5FFDDAA053}" srcOrd="0" destOrd="0" presId="urn:microsoft.com/office/officeart/2005/8/layout/orgChart1"/>
    <dgm:cxn modelId="{C763F6E9-6FC5-458D-AA28-E82C5258EA14}" srcId="{401C8583-AE72-4C48-BE2B-43D6B481ED9E}" destId="{30DF539F-FA0E-4559-B8E5-301D9503B443}" srcOrd="2" destOrd="0" parTransId="{BB06FF2F-71F1-4642-AFE3-C9BE8E6AEB31}" sibTransId="{656BFA5C-B883-436F-A689-0F27DE538D8C}"/>
    <dgm:cxn modelId="{4CBF97F5-BE84-4382-AC79-CEE655702706}" type="presOf" srcId="{BDA98E4A-385C-4F1C-BDE0-63196B506B03}" destId="{B71FD60F-02DD-446E-87DE-E6735A812512}" srcOrd="1" destOrd="0" presId="urn:microsoft.com/office/officeart/2005/8/layout/orgChart1"/>
    <dgm:cxn modelId="{D8202BF7-5CEB-4330-B603-A983F529EAAA}" type="presOf" srcId="{47CAE6BD-AADA-43DF-8759-34998FAF52D1}" destId="{6817C78B-FB91-4F72-BDEA-69AAB3D6A6F0}" srcOrd="1" destOrd="0" presId="urn:microsoft.com/office/officeart/2005/8/layout/orgChart1"/>
    <dgm:cxn modelId="{5E1F92F7-B356-493C-96D6-11FE01367098}" type="presOf" srcId="{30DF539F-FA0E-4559-B8E5-301D9503B443}" destId="{4EEDA2F1-1CB8-459C-AF5F-EDD4B87E38D4}" srcOrd="0" destOrd="0" presId="urn:microsoft.com/office/officeart/2005/8/layout/orgChart1"/>
    <dgm:cxn modelId="{F3A1CFF6-E62C-43F6-A557-0690E7313298}" type="presParOf" srcId="{93696BEB-07BC-4A87-8B5F-190870361ED0}" destId="{8382F1A2-F781-4FDD-A54F-D97E3AC27FFC}" srcOrd="0" destOrd="0" presId="urn:microsoft.com/office/officeart/2005/8/layout/orgChart1"/>
    <dgm:cxn modelId="{CC7E9159-C200-4B16-90A8-6CCDB036E1FD}" type="presParOf" srcId="{8382F1A2-F781-4FDD-A54F-D97E3AC27FFC}" destId="{E6A14B18-AAC8-469E-B17A-A2816F1BCB77}" srcOrd="0" destOrd="0" presId="urn:microsoft.com/office/officeart/2005/8/layout/orgChart1"/>
    <dgm:cxn modelId="{F4ADEB29-0DB0-4E86-9144-3B76F5853146}" type="presParOf" srcId="{E6A14B18-AAC8-469E-B17A-A2816F1BCB77}" destId="{2788370D-4F45-4C86-B0DE-46F155D5222F}" srcOrd="0" destOrd="0" presId="urn:microsoft.com/office/officeart/2005/8/layout/orgChart1"/>
    <dgm:cxn modelId="{BEDE8C17-D826-4051-BBF6-EF4F069B35D4}" type="presParOf" srcId="{E6A14B18-AAC8-469E-B17A-A2816F1BCB77}" destId="{8E615763-9ACF-45A0-8764-D52C12EFC6BE}" srcOrd="1" destOrd="0" presId="urn:microsoft.com/office/officeart/2005/8/layout/orgChart1"/>
    <dgm:cxn modelId="{086C168F-04A6-4699-9A35-2B930D665D37}" type="presParOf" srcId="{8382F1A2-F781-4FDD-A54F-D97E3AC27FFC}" destId="{977714AB-AD51-413B-88E2-D69B667C9A67}" srcOrd="1" destOrd="0" presId="urn:microsoft.com/office/officeart/2005/8/layout/orgChart1"/>
    <dgm:cxn modelId="{4FE9E93E-2570-46B7-B5C2-4F4286B61B3D}" type="presParOf" srcId="{977714AB-AD51-413B-88E2-D69B667C9A67}" destId="{C59839C6-5A92-479E-BADE-056DC40BC949}" srcOrd="0" destOrd="0" presId="urn:microsoft.com/office/officeart/2005/8/layout/orgChart1"/>
    <dgm:cxn modelId="{4745C64B-DD3D-4D20-9358-B83A7080E2AB}" type="presParOf" srcId="{977714AB-AD51-413B-88E2-D69B667C9A67}" destId="{81467825-AE1D-4D50-80EF-B9347361DB74}" srcOrd="1" destOrd="0" presId="urn:microsoft.com/office/officeart/2005/8/layout/orgChart1"/>
    <dgm:cxn modelId="{962C5023-42E7-4C67-8E9F-A69D176BB548}" type="presParOf" srcId="{81467825-AE1D-4D50-80EF-B9347361DB74}" destId="{2E6742FD-9594-4241-B6C9-DC63C21E0DC0}" srcOrd="0" destOrd="0" presId="urn:microsoft.com/office/officeart/2005/8/layout/orgChart1"/>
    <dgm:cxn modelId="{51F10024-68D2-4D38-9FE8-27681C87065A}" type="presParOf" srcId="{2E6742FD-9594-4241-B6C9-DC63C21E0DC0}" destId="{0532D051-D6E0-4281-8EA7-B444740B0C17}" srcOrd="0" destOrd="0" presId="urn:microsoft.com/office/officeart/2005/8/layout/orgChart1"/>
    <dgm:cxn modelId="{D01F2E5E-A464-4893-8D34-47E8B2EE2C3E}" type="presParOf" srcId="{2E6742FD-9594-4241-B6C9-DC63C21E0DC0}" destId="{4DE024C9-9834-4C3D-A1C7-976BE6B46BBD}" srcOrd="1" destOrd="0" presId="urn:microsoft.com/office/officeart/2005/8/layout/orgChart1"/>
    <dgm:cxn modelId="{DE39B831-5D67-44B7-84AD-A3D56895A5A8}" type="presParOf" srcId="{81467825-AE1D-4D50-80EF-B9347361DB74}" destId="{3F09E43E-7F63-4A4A-880B-06007EC741C3}" srcOrd="1" destOrd="0" presId="urn:microsoft.com/office/officeart/2005/8/layout/orgChart1"/>
    <dgm:cxn modelId="{9FFC6188-D9FE-4746-B9B9-FE5E7B693B33}" type="presParOf" srcId="{3F09E43E-7F63-4A4A-880B-06007EC741C3}" destId="{D5CCC0A3-6191-4F16-94E8-D744F2256755}" srcOrd="0" destOrd="0" presId="urn:microsoft.com/office/officeart/2005/8/layout/orgChart1"/>
    <dgm:cxn modelId="{B9F896CB-BD8B-4985-A244-FE5DE4DB4B6D}" type="presParOf" srcId="{3F09E43E-7F63-4A4A-880B-06007EC741C3}" destId="{DFC809D5-BD1D-43FB-83EA-D302BD91B732}" srcOrd="1" destOrd="0" presId="urn:microsoft.com/office/officeart/2005/8/layout/orgChart1"/>
    <dgm:cxn modelId="{3BAB7DB1-89D5-4E88-8FC1-00ACBA35BEA3}" type="presParOf" srcId="{DFC809D5-BD1D-43FB-83EA-D302BD91B732}" destId="{EB20C0E8-0555-4AA1-B471-4921D3555CCA}" srcOrd="0" destOrd="0" presId="urn:microsoft.com/office/officeart/2005/8/layout/orgChart1"/>
    <dgm:cxn modelId="{4A45CF23-E5C1-41DC-B037-F8F7454A5DB2}" type="presParOf" srcId="{EB20C0E8-0555-4AA1-B471-4921D3555CCA}" destId="{75C47290-EA2D-457D-83B9-A9558ADDE70C}" srcOrd="0" destOrd="0" presId="urn:microsoft.com/office/officeart/2005/8/layout/orgChart1"/>
    <dgm:cxn modelId="{462C39F7-711E-4785-9263-4E9308C0714A}" type="presParOf" srcId="{EB20C0E8-0555-4AA1-B471-4921D3555CCA}" destId="{621C02F1-4CAA-4236-8ADF-785DFCEDBB6B}" srcOrd="1" destOrd="0" presId="urn:microsoft.com/office/officeart/2005/8/layout/orgChart1"/>
    <dgm:cxn modelId="{4CA8FD08-85F6-4AA8-A733-EE1CA5CEE011}" type="presParOf" srcId="{DFC809D5-BD1D-43FB-83EA-D302BD91B732}" destId="{2F59A2E0-4E6D-4FFB-B333-2E79D8AE4C40}" srcOrd="1" destOrd="0" presId="urn:microsoft.com/office/officeart/2005/8/layout/orgChart1"/>
    <dgm:cxn modelId="{BF0BDB1B-6D99-42D5-8101-4DF570AABE47}" type="presParOf" srcId="{DFC809D5-BD1D-43FB-83EA-D302BD91B732}" destId="{8EB8BA92-B7DE-45E8-8D82-FB046023A82A}" srcOrd="2" destOrd="0" presId="urn:microsoft.com/office/officeart/2005/8/layout/orgChart1"/>
    <dgm:cxn modelId="{1A6B7E8B-126C-4603-BA9D-7B1FB1658049}" type="presParOf" srcId="{3F09E43E-7F63-4A4A-880B-06007EC741C3}" destId="{8049C8B1-5F2C-4C06-929B-8B7440ED81D4}" srcOrd="2" destOrd="0" presId="urn:microsoft.com/office/officeart/2005/8/layout/orgChart1"/>
    <dgm:cxn modelId="{82A182E0-7635-4029-AD4D-E554A832A66B}" type="presParOf" srcId="{3F09E43E-7F63-4A4A-880B-06007EC741C3}" destId="{234DB78B-ECF9-4A01-9A93-5BAD12CF6988}" srcOrd="3" destOrd="0" presId="urn:microsoft.com/office/officeart/2005/8/layout/orgChart1"/>
    <dgm:cxn modelId="{E7A2C58F-A7FF-4E17-91A9-49DFC7BC27F7}" type="presParOf" srcId="{234DB78B-ECF9-4A01-9A93-5BAD12CF6988}" destId="{2CB18AA0-7350-4158-834C-574D5C7C0A14}" srcOrd="0" destOrd="0" presId="urn:microsoft.com/office/officeart/2005/8/layout/orgChart1"/>
    <dgm:cxn modelId="{AC38EA1B-6590-42E4-8673-5CA5727A7A0D}" type="presParOf" srcId="{2CB18AA0-7350-4158-834C-574D5C7C0A14}" destId="{2C203965-7E35-4448-A076-6E8ECD97A2FE}" srcOrd="0" destOrd="0" presId="urn:microsoft.com/office/officeart/2005/8/layout/orgChart1"/>
    <dgm:cxn modelId="{3F0E8E5C-DF8B-4405-B021-70E457A415DC}" type="presParOf" srcId="{2CB18AA0-7350-4158-834C-574D5C7C0A14}" destId="{B71FD60F-02DD-446E-87DE-E6735A812512}" srcOrd="1" destOrd="0" presId="urn:microsoft.com/office/officeart/2005/8/layout/orgChart1"/>
    <dgm:cxn modelId="{4B947717-73B8-4E96-B4F6-159E442128CF}" type="presParOf" srcId="{234DB78B-ECF9-4A01-9A93-5BAD12CF6988}" destId="{7D0854E0-475A-4FF4-80FA-FC0983BCA81A}" srcOrd="1" destOrd="0" presId="urn:microsoft.com/office/officeart/2005/8/layout/orgChart1"/>
    <dgm:cxn modelId="{6F0E269A-C3AD-4115-B58C-72E4739C9447}" type="presParOf" srcId="{234DB78B-ECF9-4A01-9A93-5BAD12CF6988}" destId="{D0470CB0-2FDC-4917-B852-2EAB593C285E}" srcOrd="2" destOrd="0" presId="urn:microsoft.com/office/officeart/2005/8/layout/orgChart1"/>
    <dgm:cxn modelId="{2864D152-0136-4F09-8FA3-BBB5B4936594}" type="presParOf" srcId="{3F09E43E-7F63-4A4A-880B-06007EC741C3}" destId="{094AE38E-EDC6-440F-B03F-37FE0A007F95}" srcOrd="4" destOrd="0" presId="urn:microsoft.com/office/officeart/2005/8/layout/orgChart1"/>
    <dgm:cxn modelId="{B1401A6B-5E74-480F-879C-475B67530497}" type="presParOf" srcId="{3F09E43E-7F63-4A4A-880B-06007EC741C3}" destId="{D07179B9-86AE-44C6-A2FA-B8F61A2A7B52}" srcOrd="5" destOrd="0" presId="urn:microsoft.com/office/officeart/2005/8/layout/orgChart1"/>
    <dgm:cxn modelId="{47A4C88A-DBF9-4FFF-860F-1E73218EB65E}" type="presParOf" srcId="{D07179B9-86AE-44C6-A2FA-B8F61A2A7B52}" destId="{7C15B1F8-BF14-4F52-8F77-237909F55FC8}" srcOrd="0" destOrd="0" presId="urn:microsoft.com/office/officeart/2005/8/layout/orgChart1"/>
    <dgm:cxn modelId="{1A66581C-F41C-4FFF-8E69-C744D1FE9DFB}" type="presParOf" srcId="{7C15B1F8-BF14-4F52-8F77-237909F55FC8}" destId="{4EEDA2F1-1CB8-459C-AF5F-EDD4B87E38D4}" srcOrd="0" destOrd="0" presId="urn:microsoft.com/office/officeart/2005/8/layout/orgChart1"/>
    <dgm:cxn modelId="{3BA60F4B-A325-4D42-BA4F-09F05BB1C614}" type="presParOf" srcId="{7C15B1F8-BF14-4F52-8F77-237909F55FC8}" destId="{C3BCDBA6-F5BD-403D-846A-7FC69DD80D93}" srcOrd="1" destOrd="0" presId="urn:microsoft.com/office/officeart/2005/8/layout/orgChart1"/>
    <dgm:cxn modelId="{2523ACEE-E5CB-4F43-BF42-C3BAB51807A8}" type="presParOf" srcId="{D07179B9-86AE-44C6-A2FA-B8F61A2A7B52}" destId="{086FC0EA-5F15-4AD9-AACA-EA967471D99E}" srcOrd="1" destOrd="0" presId="urn:microsoft.com/office/officeart/2005/8/layout/orgChart1"/>
    <dgm:cxn modelId="{94362E76-E221-422F-A62F-8D39D4CEC7A2}" type="presParOf" srcId="{D07179B9-86AE-44C6-A2FA-B8F61A2A7B52}" destId="{2226FD74-78F7-4C06-9CF2-8B022A08DD43}" srcOrd="2" destOrd="0" presId="urn:microsoft.com/office/officeart/2005/8/layout/orgChart1"/>
    <dgm:cxn modelId="{F1EC81D5-0115-469D-9FDF-EBE814D2333F}" type="presParOf" srcId="{81467825-AE1D-4D50-80EF-B9347361DB74}" destId="{B8AA4F10-A26B-4719-8B7C-4DDC72D9C8BD}" srcOrd="2" destOrd="0" presId="urn:microsoft.com/office/officeart/2005/8/layout/orgChart1"/>
    <dgm:cxn modelId="{9D76F091-B0B3-423C-B5B6-FA5D79C87A1B}" type="presParOf" srcId="{977714AB-AD51-413B-88E2-D69B667C9A67}" destId="{9365B448-5442-4B8B-9762-A19A3AA388F6}" srcOrd="2" destOrd="0" presId="urn:microsoft.com/office/officeart/2005/8/layout/orgChart1"/>
    <dgm:cxn modelId="{6A4E6234-F73A-4BE0-9B49-E912D8E8C7FD}" type="presParOf" srcId="{977714AB-AD51-413B-88E2-D69B667C9A67}" destId="{3B7C934F-89EA-4606-A9D3-0AF207B47179}" srcOrd="3" destOrd="0" presId="urn:microsoft.com/office/officeart/2005/8/layout/orgChart1"/>
    <dgm:cxn modelId="{9FCB99FD-9B02-4B30-9D2F-476DAE60847C}" type="presParOf" srcId="{3B7C934F-89EA-4606-A9D3-0AF207B47179}" destId="{0DA30A35-BD17-4A1E-8C7E-20FFAFE70569}" srcOrd="0" destOrd="0" presId="urn:microsoft.com/office/officeart/2005/8/layout/orgChart1"/>
    <dgm:cxn modelId="{F3BF78ED-8240-4615-94F0-883D3DAD86EF}" type="presParOf" srcId="{0DA30A35-BD17-4A1E-8C7E-20FFAFE70569}" destId="{1DB85CD9-DFD2-49B0-929A-F36CED4ECE13}" srcOrd="0" destOrd="0" presId="urn:microsoft.com/office/officeart/2005/8/layout/orgChart1"/>
    <dgm:cxn modelId="{24226388-5424-4687-9701-746878581788}" type="presParOf" srcId="{0DA30A35-BD17-4A1E-8C7E-20FFAFE70569}" destId="{34650D42-35EA-4CA6-BB44-CFA86D5D79C0}" srcOrd="1" destOrd="0" presId="urn:microsoft.com/office/officeart/2005/8/layout/orgChart1"/>
    <dgm:cxn modelId="{DDD91D8B-28DE-4B55-B9EF-66EA4F8DA725}" type="presParOf" srcId="{3B7C934F-89EA-4606-A9D3-0AF207B47179}" destId="{9B82C46C-BDE7-4870-AE76-B0D52099A9C3}" srcOrd="1" destOrd="0" presId="urn:microsoft.com/office/officeart/2005/8/layout/orgChart1"/>
    <dgm:cxn modelId="{8FC3F22C-53D4-4FED-8D7F-E8E25B5EEA60}" type="presParOf" srcId="{9B82C46C-BDE7-4870-AE76-B0D52099A9C3}" destId="{910CE754-474C-408C-A660-B2EF44040386}" srcOrd="0" destOrd="0" presId="urn:microsoft.com/office/officeart/2005/8/layout/orgChart1"/>
    <dgm:cxn modelId="{F25D129E-81ED-4C5E-AA5A-46D43A56DECE}" type="presParOf" srcId="{9B82C46C-BDE7-4870-AE76-B0D52099A9C3}" destId="{439E028C-BAAA-48AD-B4A8-64787B8F4237}" srcOrd="1" destOrd="0" presId="urn:microsoft.com/office/officeart/2005/8/layout/orgChart1"/>
    <dgm:cxn modelId="{D64E22B7-899B-462E-8233-DB86A9877D85}" type="presParOf" srcId="{439E028C-BAAA-48AD-B4A8-64787B8F4237}" destId="{7C050263-148E-4EFC-9F6E-3C7AC630EBA1}" srcOrd="0" destOrd="0" presId="urn:microsoft.com/office/officeart/2005/8/layout/orgChart1"/>
    <dgm:cxn modelId="{DC3A1081-5A47-4BCE-AA2A-15228EABBD53}" type="presParOf" srcId="{7C050263-148E-4EFC-9F6E-3C7AC630EBA1}" destId="{7254C196-F28B-474E-9999-48C891895CEE}" srcOrd="0" destOrd="0" presId="urn:microsoft.com/office/officeart/2005/8/layout/orgChart1"/>
    <dgm:cxn modelId="{C6ED5412-91C3-4A8F-B632-89B3D5F90FBE}" type="presParOf" srcId="{7C050263-148E-4EFC-9F6E-3C7AC630EBA1}" destId="{AA9F26E1-02E0-43F1-BE7D-C2F72E2C890A}" srcOrd="1" destOrd="0" presId="urn:microsoft.com/office/officeart/2005/8/layout/orgChart1"/>
    <dgm:cxn modelId="{2DD94868-FEA2-4B48-8129-D8D1F6831810}" type="presParOf" srcId="{439E028C-BAAA-48AD-B4A8-64787B8F4237}" destId="{F9C774AE-30D4-44BA-BDA7-4ADE09DC0A9C}" srcOrd="1" destOrd="0" presId="urn:microsoft.com/office/officeart/2005/8/layout/orgChart1"/>
    <dgm:cxn modelId="{A9D8B39C-B521-49EA-95B4-B66B0B5800A0}" type="presParOf" srcId="{439E028C-BAAA-48AD-B4A8-64787B8F4237}" destId="{17CC3646-36BF-4635-AF3B-3F4B63E22568}" srcOrd="2" destOrd="0" presId="urn:microsoft.com/office/officeart/2005/8/layout/orgChart1"/>
    <dgm:cxn modelId="{46887D85-F264-4FB1-9B71-415BA56F76F6}" type="presParOf" srcId="{9B82C46C-BDE7-4870-AE76-B0D52099A9C3}" destId="{EE142306-4318-4B7F-A13F-C0344AC4B095}" srcOrd="2" destOrd="0" presId="urn:microsoft.com/office/officeart/2005/8/layout/orgChart1"/>
    <dgm:cxn modelId="{162BCA76-1B40-466A-B098-C257ADF1558C}" type="presParOf" srcId="{9B82C46C-BDE7-4870-AE76-B0D52099A9C3}" destId="{DEEA13C1-10DD-4FC5-9D6B-6ABECF75106C}" srcOrd="3" destOrd="0" presId="urn:microsoft.com/office/officeart/2005/8/layout/orgChart1"/>
    <dgm:cxn modelId="{BDA976B6-9875-444F-8117-EE896A659BDD}" type="presParOf" srcId="{DEEA13C1-10DD-4FC5-9D6B-6ABECF75106C}" destId="{E639EC34-DB6A-46ED-8CD0-799DE1FB989C}" srcOrd="0" destOrd="0" presId="urn:microsoft.com/office/officeart/2005/8/layout/orgChart1"/>
    <dgm:cxn modelId="{91760191-8729-491C-A044-3BF5C6AD5B8A}" type="presParOf" srcId="{E639EC34-DB6A-46ED-8CD0-799DE1FB989C}" destId="{6DD4EC99-A54D-4022-A278-0404F9ADCF4A}" srcOrd="0" destOrd="0" presId="urn:microsoft.com/office/officeart/2005/8/layout/orgChart1"/>
    <dgm:cxn modelId="{3C97DCC6-19D8-466C-8E0B-154191221BAB}" type="presParOf" srcId="{E639EC34-DB6A-46ED-8CD0-799DE1FB989C}" destId="{F91C6B27-0C13-4B60-91EE-38D19B034B69}" srcOrd="1" destOrd="0" presId="urn:microsoft.com/office/officeart/2005/8/layout/orgChart1"/>
    <dgm:cxn modelId="{C488BF3B-3A12-4798-8640-319058EB1A1A}" type="presParOf" srcId="{DEEA13C1-10DD-4FC5-9D6B-6ABECF75106C}" destId="{55F7BCA1-1B80-4354-AC0F-642032075A42}" srcOrd="1" destOrd="0" presId="urn:microsoft.com/office/officeart/2005/8/layout/orgChart1"/>
    <dgm:cxn modelId="{19A8DCC8-6BC2-4C53-AAD7-9DA455F32F42}" type="presParOf" srcId="{DEEA13C1-10DD-4FC5-9D6B-6ABECF75106C}" destId="{30691E19-8021-4E03-B220-A0B0E6EBA937}" srcOrd="2" destOrd="0" presId="urn:microsoft.com/office/officeart/2005/8/layout/orgChart1"/>
    <dgm:cxn modelId="{29D63B73-C2D9-4234-B679-FEE8B25B36B0}" type="presParOf" srcId="{3B7C934F-89EA-4606-A9D3-0AF207B47179}" destId="{E1622506-EE76-413F-AAA7-3C467B03F740}" srcOrd="2" destOrd="0" presId="urn:microsoft.com/office/officeart/2005/8/layout/orgChart1"/>
    <dgm:cxn modelId="{E4F931B9-38F8-4F0E-939C-7EE78542332D}" type="presParOf" srcId="{977714AB-AD51-413B-88E2-D69B667C9A67}" destId="{0678172B-7756-4037-B56C-898CCCAD9DAF}" srcOrd="4" destOrd="0" presId="urn:microsoft.com/office/officeart/2005/8/layout/orgChart1"/>
    <dgm:cxn modelId="{02BD86A8-DDDB-45B6-8317-EDCF5065D3FB}" type="presParOf" srcId="{977714AB-AD51-413B-88E2-D69B667C9A67}" destId="{8E527F67-9A0E-4C90-8D82-107F77C7AB8E}" srcOrd="5" destOrd="0" presId="urn:microsoft.com/office/officeart/2005/8/layout/orgChart1"/>
    <dgm:cxn modelId="{4AA5784E-C134-4754-AC22-B2EBC4022A24}" type="presParOf" srcId="{8E527F67-9A0E-4C90-8D82-107F77C7AB8E}" destId="{D3E681BB-FA76-4336-96A0-17E31EF067A6}" srcOrd="0" destOrd="0" presId="urn:microsoft.com/office/officeart/2005/8/layout/orgChart1"/>
    <dgm:cxn modelId="{F5B65160-9A5D-4C7F-824F-83D7E272CE80}" type="presParOf" srcId="{D3E681BB-FA76-4336-96A0-17E31EF067A6}" destId="{87F5EB53-3D92-494F-A486-C64735492BDF}" srcOrd="0" destOrd="0" presId="urn:microsoft.com/office/officeart/2005/8/layout/orgChart1"/>
    <dgm:cxn modelId="{885355AC-31F7-44FE-A2B0-2D45D08479AC}" type="presParOf" srcId="{D3E681BB-FA76-4336-96A0-17E31EF067A6}" destId="{A65F8493-18F8-43ED-9D54-80037F0F35F3}" srcOrd="1" destOrd="0" presId="urn:microsoft.com/office/officeart/2005/8/layout/orgChart1"/>
    <dgm:cxn modelId="{81DF4393-8F65-4712-A644-1FC034717549}" type="presParOf" srcId="{8E527F67-9A0E-4C90-8D82-107F77C7AB8E}" destId="{F9E448C9-B1DB-451E-BE3D-CB47C062A5E4}" srcOrd="1" destOrd="0" presId="urn:microsoft.com/office/officeart/2005/8/layout/orgChart1"/>
    <dgm:cxn modelId="{C62BA0D6-55E3-4F09-B8C3-CF858DB1DC7E}" type="presParOf" srcId="{F9E448C9-B1DB-451E-BE3D-CB47C062A5E4}" destId="{EAB7AD1F-776A-4478-9EA2-8B3D99991DBD}" srcOrd="0" destOrd="0" presId="urn:microsoft.com/office/officeart/2005/8/layout/orgChart1"/>
    <dgm:cxn modelId="{2D42E93B-CF74-4559-918C-CBCCA14E183E}" type="presParOf" srcId="{F9E448C9-B1DB-451E-BE3D-CB47C062A5E4}" destId="{09099A0B-0E42-414A-AA5B-61D4350279A2}" srcOrd="1" destOrd="0" presId="urn:microsoft.com/office/officeart/2005/8/layout/orgChart1"/>
    <dgm:cxn modelId="{BCA86687-1640-4307-A9C0-417888374C36}" type="presParOf" srcId="{09099A0B-0E42-414A-AA5B-61D4350279A2}" destId="{754CD06A-C077-4F0F-B613-CE2FF30C8B10}" srcOrd="0" destOrd="0" presId="urn:microsoft.com/office/officeart/2005/8/layout/orgChart1"/>
    <dgm:cxn modelId="{E0134A21-39B3-4DD8-9F79-CAFA0012CE1A}" type="presParOf" srcId="{754CD06A-C077-4F0F-B613-CE2FF30C8B10}" destId="{EB4D098F-DE29-4B9F-A01D-C0DFB086204B}" srcOrd="0" destOrd="0" presId="urn:microsoft.com/office/officeart/2005/8/layout/orgChart1"/>
    <dgm:cxn modelId="{1B7F4465-E33A-4D49-AC78-AAE63A48A906}" type="presParOf" srcId="{754CD06A-C077-4F0F-B613-CE2FF30C8B10}" destId="{924DED77-1A25-4888-8287-DF97AF8298DC}" srcOrd="1" destOrd="0" presId="urn:microsoft.com/office/officeart/2005/8/layout/orgChart1"/>
    <dgm:cxn modelId="{ECB245E1-CD28-47DF-8789-2BE20F3F9FE7}" type="presParOf" srcId="{09099A0B-0E42-414A-AA5B-61D4350279A2}" destId="{B242CFAC-5449-47DF-A0BB-33B691517E5F}" srcOrd="1" destOrd="0" presId="urn:microsoft.com/office/officeart/2005/8/layout/orgChart1"/>
    <dgm:cxn modelId="{448E812D-85C4-4F4C-A6D7-D2566D2C0020}" type="presParOf" srcId="{09099A0B-0E42-414A-AA5B-61D4350279A2}" destId="{66881D45-9992-4CD3-856C-FDC0F5F3CDF8}" srcOrd="2" destOrd="0" presId="urn:microsoft.com/office/officeart/2005/8/layout/orgChart1"/>
    <dgm:cxn modelId="{3770776D-23D0-477D-A9FB-798B783E785E}" type="presParOf" srcId="{8E527F67-9A0E-4C90-8D82-107F77C7AB8E}" destId="{BEE38E0E-FC86-4717-B84A-AD455AA69557}" srcOrd="2" destOrd="0" presId="urn:microsoft.com/office/officeart/2005/8/layout/orgChart1"/>
    <dgm:cxn modelId="{122EF36F-0F86-46B8-B784-B3CD9D0F5148}" type="presParOf" srcId="{977714AB-AD51-413B-88E2-D69B667C9A67}" destId="{EF293A95-9077-412A-9B0C-588860019670}" srcOrd="6" destOrd="0" presId="urn:microsoft.com/office/officeart/2005/8/layout/orgChart1"/>
    <dgm:cxn modelId="{D22BDA20-9FE4-4035-834A-ABA283C88743}" type="presParOf" srcId="{977714AB-AD51-413B-88E2-D69B667C9A67}" destId="{3B2CD6BF-C8EC-44E5-AC5C-63FDE59AA6CE}" srcOrd="7" destOrd="0" presId="urn:microsoft.com/office/officeart/2005/8/layout/orgChart1"/>
    <dgm:cxn modelId="{0B1FE878-4D5B-4652-AE4C-C76648A8F1D4}" type="presParOf" srcId="{3B2CD6BF-C8EC-44E5-AC5C-63FDE59AA6CE}" destId="{83DB0056-206E-4710-B37B-E03F1E26D587}" srcOrd="0" destOrd="0" presId="urn:microsoft.com/office/officeart/2005/8/layout/orgChart1"/>
    <dgm:cxn modelId="{BB305781-C7CE-49A0-9410-4015A3493D15}" type="presParOf" srcId="{83DB0056-206E-4710-B37B-E03F1E26D587}" destId="{8A36E7A3-93F6-4CE0-9348-DA5FFDDAA053}" srcOrd="0" destOrd="0" presId="urn:microsoft.com/office/officeart/2005/8/layout/orgChart1"/>
    <dgm:cxn modelId="{E6903E2E-D1C6-4160-B647-347276FE29C4}" type="presParOf" srcId="{83DB0056-206E-4710-B37B-E03F1E26D587}" destId="{346210DD-1BE2-40DD-8623-0D5E5A50118E}" srcOrd="1" destOrd="0" presId="urn:microsoft.com/office/officeart/2005/8/layout/orgChart1"/>
    <dgm:cxn modelId="{E2EE40AB-0BE5-4A20-99C6-1821AE700143}" type="presParOf" srcId="{3B2CD6BF-C8EC-44E5-AC5C-63FDE59AA6CE}" destId="{834E6D38-2751-464C-9248-D03B57835773}" srcOrd="1" destOrd="0" presId="urn:microsoft.com/office/officeart/2005/8/layout/orgChart1"/>
    <dgm:cxn modelId="{F23F9971-2DAD-45C9-8BE2-70DD332DADC2}" type="presParOf" srcId="{834E6D38-2751-464C-9248-D03B57835773}" destId="{5F0E5AF5-7430-4B00-8BB3-FF4A0778A6ED}" srcOrd="0" destOrd="0" presId="urn:microsoft.com/office/officeart/2005/8/layout/orgChart1"/>
    <dgm:cxn modelId="{0BC53BEB-A8AC-440C-BC25-6A57C16B7BE2}" type="presParOf" srcId="{834E6D38-2751-464C-9248-D03B57835773}" destId="{D3889135-6E97-4290-8B5A-77A5D4C00E33}" srcOrd="1" destOrd="0" presId="urn:microsoft.com/office/officeart/2005/8/layout/orgChart1"/>
    <dgm:cxn modelId="{CB8282F9-4132-47E4-92CE-8E945201BAC8}" type="presParOf" srcId="{D3889135-6E97-4290-8B5A-77A5D4C00E33}" destId="{99C62C81-D5DB-4752-AD3C-F8C9CCF47B50}" srcOrd="0" destOrd="0" presId="urn:microsoft.com/office/officeart/2005/8/layout/orgChart1"/>
    <dgm:cxn modelId="{A9438674-7AA9-4F0B-B857-595C441F7F70}" type="presParOf" srcId="{99C62C81-D5DB-4752-AD3C-F8C9CCF47B50}" destId="{43BADCEF-1B9D-4226-A33B-49BF0568089A}" srcOrd="0" destOrd="0" presId="urn:microsoft.com/office/officeart/2005/8/layout/orgChart1"/>
    <dgm:cxn modelId="{EADFEFDC-4DEE-48B0-A458-EA803D956FBA}" type="presParOf" srcId="{99C62C81-D5DB-4752-AD3C-F8C9CCF47B50}" destId="{6817C78B-FB91-4F72-BDEA-69AAB3D6A6F0}" srcOrd="1" destOrd="0" presId="urn:microsoft.com/office/officeart/2005/8/layout/orgChart1"/>
    <dgm:cxn modelId="{2F30428B-863D-4F85-908D-C4E5EA41C7AF}" type="presParOf" srcId="{D3889135-6E97-4290-8B5A-77A5D4C00E33}" destId="{98C3A07E-44A7-4FF6-BADD-9E573DB50654}" srcOrd="1" destOrd="0" presId="urn:microsoft.com/office/officeart/2005/8/layout/orgChart1"/>
    <dgm:cxn modelId="{D01A4AA4-8CEA-4E12-A65B-21AD39596860}" type="presParOf" srcId="{D3889135-6E97-4290-8B5A-77A5D4C00E33}" destId="{975A5876-A40D-4AC4-B6CC-9E58C78D0CDD}" srcOrd="2" destOrd="0" presId="urn:microsoft.com/office/officeart/2005/8/layout/orgChart1"/>
    <dgm:cxn modelId="{83A65EA5-137C-4B02-8EBF-A0EDD3F666F2}" type="presParOf" srcId="{834E6D38-2751-464C-9248-D03B57835773}" destId="{1671728D-D2DF-4A9A-90B4-F528C6E86A5C}" srcOrd="2" destOrd="0" presId="urn:microsoft.com/office/officeart/2005/8/layout/orgChart1"/>
    <dgm:cxn modelId="{397497D9-9462-4706-A594-6B5EB0592892}" type="presParOf" srcId="{834E6D38-2751-464C-9248-D03B57835773}" destId="{698FC1D0-ACF4-4B93-AC6D-7AE82DC5275F}" srcOrd="3" destOrd="0" presId="urn:microsoft.com/office/officeart/2005/8/layout/orgChart1"/>
    <dgm:cxn modelId="{47452B5D-394A-4458-A3E6-662A287C3E04}" type="presParOf" srcId="{698FC1D0-ACF4-4B93-AC6D-7AE82DC5275F}" destId="{01292F4E-EF57-47B1-85F8-8B1F8409B543}" srcOrd="0" destOrd="0" presId="urn:microsoft.com/office/officeart/2005/8/layout/orgChart1"/>
    <dgm:cxn modelId="{4129BF1E-7ABE-4CBB-BF0D-1DB79585484F}" type="presParOf" srcId="{01292F4E-EF57-47B1-85F8-8B1F8409B543}" destId="{DB13C183-0F06-4D26-9EAB-91F319AE3FB0}" srcOrd="0" destOrd="0" presId="urn:microsoft.com/office/officeart/2005/8/layout/orgChart1"/>
    <dgm:cxn modelId="{F2B7D702-2395-4D04-9DD5-C3895677D62B}" type="presParOf" srcId="{01292F4E-EF57-47B1-85F8-8B1F8409B543}" destId="{14F71D84-F1D8-4A8E-8633-B60868E77C2B}" srcOrd="1" destOrd="0" presId="urn:microsoft.com/office/officeart/2005/8/layout/orgChart1"/>
    <dgm:cxn modelId="{0C4507E5-C7F4-4316-B049-361269237609}" type="presParOf" srcId="{698FC1D0-ACF4-4B93-AC6D-7AE82DC5275F}" destId="{939884ED-8AE7-4EC4-94DE-5F56FF074FAB}" srcOrd="1" destOrd="0" presId="urn:microsoft.com/office/officeart/2005/8/layout/orgChart1"/>
    <dgm:cxn modelId="{4E9C4C53-1420-4146-8E22-02E89922311E}" type="presParOf" srcId="{698FC1D0-ACF4-4B93-AC6D-7AE82DC5275F}" destId="{5609950E-9D2F-4741-98C5-8F1678C771FD}" srcOrd="2" destOrd="0" presId="urn:microsoft.com/office/officeart/2005/8/layout/orgChart1"/>
    <dgm:cxn modelId="{7DC93D96-8181-49A8-AEC7-AF5FD0F94B26}" type="presParOf" srcId="{3B2CD6BF-C8EC-44E5-AC5C-63FDE59AA6CE}" destId="{2FD86F37-FC4E-432D-8F37-8A90A792475C}" srcOrd="2" destOrd="0" presId="urn:microsoft.com/office/officeart/2005/8/layout/orgChart1"/>
    <dgm:cxn modelId="{C1A15BD5-D72B-4CE0-9798-D7FC5AA345E5}" type="presParOf" srcId="{8382F1A2-F781-4FDD-A54F-D97E3AC27FFC}" destId="{7364A058-A11B-4FCC-A667-4D774DFD38E3}" srcOrd="2" destOrd="0" presId="urn:microsoft.com/office/officeart/2005/8/layout/orgChart1"/>
  </dgm:cxnLst>
  <dgm:bg>
    <a:noFill/>
    <a:effectLst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2A52673-6EF9-4C7F-8C4B-66899416D7EB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IN"/>
        </a:p>
      </dgm:t>
    </dgm:pt>
    <dgm:pt modelId="{4440BB35-E3C1-404A-8084-2AD3A59EB851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/>
            <a:t>Directionless by default: Respond to prompts, but don’t set or pursue goals</a:t>
          </a:r>
        </a:p>
      </dgm:t>
    </dgm:pt>
    <dgm:pt modelId="{E444C5AE-F6C4-4AD2-89C7-D670FDC6EA1C}" type="parTrans" cxnId="{981C8A0B-3F6B-4550-9F02-B8AA4F04F308}">
      <dgm:prSet/>
      <dgm:spPr/>
      <dgm:t>
        <a:bodyPr/>
        <a:lstStyle/>
        <a:p>
          <a:endParaRPr lang="en-IN"/>
        </a:p>
      </dgm:t>
    </dgm:pt>
    <dgm:pt modelId="{6023BFF9-FEB8-4BFF-B935-625EEABD6924}" type="sibTrans" cxnId="{981C8A0B-3F6B-4550-9F02-B8AA4F04F308}">
      <dgm:prSet/>
      <dgm:spPr/>
      <dgm:t>
        <a:bodyPr/>
        <a:lstStyle/>
        <a:p>
          <a:endParaRPr lang="en-IN"/>
        </a:p>
      </dgm:t>
    </dgm:pt>
    <dgm:pt modelId="{9998D0C3-FBAF-40B2-80C7-613435737073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/>
            <a:t>Weak multi-step planning: Struggle to decompose and adapt complex tasks</a:t>
          </a:r>
        </a:p>
      </dgm:t>
    </dgm:pt>
    <dgm:pt modelId="{F026626A-025F-4EC3-B6DF-7C7AF5844987}" type="parTrans" cxnId="{FEAD9E85-CBF6-4B38-AB5B-460CFC2C3AC1}">
      <dgm:prSet/>
      <dgm:spPr/>
      <dgm:t>
        <a:bodyPr/>
        <a:lstStyle/>
        <a:p>
          <a:endParaRPr lang="en-IN"/>
        </a:p>
      </dgm:t>
    </dgm:pt>
    <dgm:pt modelId="{CC4F56FB-42B1-4EC3-91C1-839E0C70F6B0}" type="sibTrans" cxnId="{FEAD9E85-CBF6-4B38-AB5B-460CFC2C3AC1}">
      <dgm:prSet/>
      <dgm:spPr/>
      <dgm:t>
        <a:bodyPr/>
        <a:lstStyle/>
        <a:p>
          <a:endParaRPr lang="en-IN"/>
        </a:p>
      </dgm:t>
    </dgm:pt>
    <dgm:pt modelId="{8C06E2F2-A556-4736-81AC-FCA7B7229A9D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/>
            <a:t>Stateless and context-limited: No persistent memory; bounded context windows</a:t>
          </a:r>
        </a:p>
      </dgm:t>
    </dgm:pt>
    <dgm:pt modelId="{AC6BD0E5-22E7-4726-97BC-E15200E17641}" type="parTrans" cxnId="{39CC8EA5-0459-47C0-95E6-13103AE6E672}">
      <dgm:prSet/>
      <dgm:spPr/>
      <dgm:t>
        <a:bodyPr/>
        <a:lstStyle/>
        <a:p>
          <a:endParaRPr lang="en-IN"/>
        </a:p>
      </dgm:t>
    </dgm:pt>
    <dgm:pt modelId="{998EA605-CF7A-4770-9BAB-D62FAC097C65}" type="sibTrans" cxnId="{39CC8EA5-0459-47C0-95E6-13103AE6E672}">
      <dgm:prSet/>
      <dgm:spPr/>
      <dgm:t>
        <a:bodyPr/>
        <a:lstStyle/>
        <a:p>
          <a:endParaRPr lang="en-IN"/>
        </a:p>
      </dgm:t>
    </dgm:pt>
    <dgm:pt modelId="{FA13577D-7E59-4097-A6DF-9B89C347DE6A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/>
            <a:t>No built-in verification: Limited self-checks; hard to guarantee correctness/compliance</a:t>
          </a:r>
        </a:p>
      </dgm:t>
    </dgm:pt>
    <dgm:pt modelId="{329F21A0-02BA-4A36-A77C-FE1B2BEF6825}" type="parTrans" cxnId="{A7BFD0EB-110F-4C9C-A0E5-47D40D2457B4}">
      <dgm:prSet/>
      <dgm:spPr/>
      <dgm:t>
        <a:bodyPr/>
        <a:lstStyle/>
        <a:p>
          <a:endParaRPr lang="en-IN"/>
        </a:p>
      </dgm:t>
    </dgm:pt>
    <dgm:pt modelId="{DFC724D3-ACB2-4B5A-B6F3-804D55702FB1}" type="sibTrans" cxnId="{A7BFD0EB-110F-4C9C-A0E5-47D40D2457B4}">
      <dgm:prSet/>
      <dgm:spPr/>
      <dgm:t>
        <a:bodyPr/>
        <a:lstStyle/>
        <a:p>
          <a:endParaRPr lang="en-IN"/>
        </a:p>
      </dgm:t>
    </dgm:pt>
    <dgm:pt modelId="{5A13C0F6-A929-4FB6-84A3-A243C587C680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/>
            <a:t>Poor constraint satisfaction: Difficulty with strict schemas, rules, and resource limits</a:t>
          </a:r>
        </a:p>
      </dgm:t>
    </dgm:pt>
    <dgm:pt modelId="{B5BCF770-F01F-47F0-A446-F765859A2BD6}" type="parTrans" cxnId="{1343F2B3-A5B2-4BB4-9BFA-167039EB91CD}">
      <dgm:prSet/>
      <dgm:spPr/>
      <dgm:t>
        <a:bodyPr/>
        <a:lstStyle/>
        <a:p>
          <a:endParaRPr lang="en-IN"/>
        </a:p>
      </dgm:t>
    </dgm:pt>
    <dgm:pt modelId="{A41DFDD3-2469-4B56-80F6-C046F5E99F60}" type="sibTrans" cxnId="{1343F2B3-A5B2-4BB4-9BFA-167039EB91CD}">
      <dgm:prSet/>
      <dgm:spPr/>
      <dgm:t>
        <a:bodyPr/>
        <a:lstStyle/>
        <a:p>
          <a:endParaRPr lang="en-IN"/>
        </a:p>
      </dgm:t>
    </dgm:pt>
    <dgm:pt modelId="{F0F093BC-4F9E-461F-932C-EC320A3FF02F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/>
            <a:t>No orchestration: Lacks scheduling, retries, error handling, and sub-task coordination</a:t>
          </a:r>
        </a:p>
      </dgm:t>
    </dgm:pt>
    <dgm:pt modelId="{4620BD46-CE9D-4362-A44D-5351BBD4CEDE}" type="parTrans" cxnId="{1AA4C69A-1E2F-4A79-9028-41487BA64FE6}">
      <dgm:prSet/>
      <dgm:spPr/>
      <dgm:t>
        <a:bodyPr/>
        <a:lstStyle/>
        <a:p>
          <a:endParaRPr lang="en-IN"/>
        </a:p>
      </dgm:t>
    </dgm:pt>
    <dgm:pt modelId="{B9D86564-6742-443C-9A94-60180562CCDA}" type="sibTrans" cxnId="{1AA4C69A-1E2F-4A79-9028-41487BA64FE6}">
      <dgm:prSet/>
      <dgm:spPr/>
      <dgm:t>
        <a:bodyPr/>
        <a:lstStyle/>
        <a:p>
          <a:endParaRPr lang="en-IN"/>
        </a:p>
      </dgm:t>
    </dgm:pt>
    <dgm:pt modelId="{ED710ABA-C267-4929-A9C3-7DC375DBF316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IN" b="0" i="0" dirty="0"/>
            <a:t>Unreliable outputs: Hallucinations; sensitive to phrasing; format inconsistency</a:t>
          </a:r>
        </a:p>
      </dgm:t>
    </dgm:pt>
    <dgm:pt modelId="{9940312C-B9A8-4BB5-ADFB-9AF26C39CD21}" type="sibTrans" cxnId="{F9745D2C-7F75-4201-8927-00FE7416286B}">
      <dgm:prSet/>
      <dgm:spPr/>
      <dgm:t>
        <a:bodyPr/>
        <a:lstStyle/>
        <a:p>
          <a:endParaRPr lang="en-IN"/>
        </a:p>
      </dgm:t>
    </dgm:pt>
    <dgm:pt modelId="{4B6BFBED-C6A2-4C61-83B0-27496C72A7B3}" type="parTrans" cxnId="{F9745D2C-7F75-4201-8927-00FE7416286B}">
      <dgm:prSet/>
      <dgm:spPr/>
      <dgm:t>
        <a:bodyPr/>
        <a:lstStyle/>
        <a:p>
          <a:endParaRPr lang="en-IN"/>
        </a:p>
      </dgm:t>
    </dgm:pt>
    <dgm:pt modelId="{4903B06D-1946-4F85-ABAC-91F2B53D64EF}" type="pres">
      <dgm:prSet presAssocID="{22A52673-6EF9-4C7F-8C4B-66899416D7EB}" presName="Name0" presStyleCnt="0">
        <dgm:presLayoutVars>
          <dgm:chMax val="7"/>
          <dgm:chPref val="7"/>
          <dgm:dir/>
        </dgm:presLayoutVars>
      </dgm:prSet>
      <dgm:spPr/>
    </dgm:pt>
    <dgm:pt modelId="{1FB1AF7E-91CA-479A-A91D-B05E8FB57112}" type="pres">
      <dgm:prSet presAssocID="{22A52673-6EF9-4C7F-8C4B-66899416D7EB}" presName="Name1" presStyleCnt="0"/>
      <dgm:spPr/>
    </dgm:pt>
    <dgm:pt modelId="{87AABF78-5371-4538-8E8A-4A204F6DF93D}" type="pres">
      <dgm:prSet presAssocID="{22A52673-6EF9-4C7F-8C4B-66899416D7EB}" presName="cycle" presStyleCnt="0"/>
      <dgm:spPr/>
    </dgm:pt>
    <dgm:pt modelId="{B49F47AB-091F-468E-A459-927CFF4779F4}" type="pres">
      <dgm:prSet presAssocID="{22A52673-6EF9-4C7F-8C4B-66899416D7EB}" presName="srcNode" presStyleLbl="node1" presStyleIdx="0" presStyleCnt="7"/>
      <dgm:spPr/>
    </dgm:pt>
    <dgm:pt modelId="{7DA72330-D779-4DE2-B6F2-FF6FFF70BFFB}" type="pres">
      <dgm:prSet presAssocID="{22A52673-6EF9-4C7F-8C4B-66899416D7EB}" presName="conn" presStyleLbl="parChTrans1D2" presStyleIdx="0" presStyleCnt="1"/>
      <dgm:spPr/>
    </dgm:pt>
    <dgm:pt modelId="{1F1F78A8-8674-4AF8-A9D0-097552DEB5C0}" type="pres">
      <dgm:prSet presAssocID="{22A52673-6EF9-4C7F-8C4B-66899416D7EB}" presName="extraNode" presStyleLbl="node1" presStyleIdx="0" presStyleCnt="7"/>
      <dgm:spPr/>
    </dgm:pt>
    <dgm:pt modelId="{96933ECC-8B22-4CF5-A8FC-44D605D334A7}" type="pres">
      <dgm:prSet presAssocID="{22A52673-6EF9-4C7F-8C4B-66899416D7EB}" presName="dstNode" presStyleLbl="node1" presStyleIdx="0" presStyleCnt="7"/>
      <dgm:spPr/>
    </dgm:pt>
    <dgm:pt modelId="{76D746FA-9E07-45AE-AC6D-8DAE81630ACD}" type="pres">
      <dgm:prSet presAssocID="{4440BB35-E3C1-404A-8084-2AD3A59EB851}" presName="text_1" presStyleLbl="node1" presStyleIdx="0" presStyleCnt="7">
        <dgm:presLayoutVars>
          <dgm:bulletEnabled val="1"/>
        </dgm:presLayoutVars>
      </dgm:prSet>
      <dgm:spPr/>
    </dgm:pt>
    <dgm:pt modelId="{C8B66D4D-35F3-4C57-9F1D-FDEC1C4DE4EF}" type="pres">
      <dgm:prSet presAssocID="{4440BB35-E3C1-404A-8084-2AD3A59EB851}" presName="accent_1" presStyleCnt="0"/>
      <dgm:spPr/>
    </dgm:pt>
    <dgm:pt modelId="{1FE0BA52-5DB5-4151-8DF5-020E1419E5E0}" type="pres">
      <dgm:prSet presAssocID="{4440BB35-E3C1-404A-8084-2AD3A59EB851}" presName="accentRepeatNode" presStyleLbl="solidFgAcc1" presStyleIdx="0" presStyleCnt="7"/>
      <dgm:spPr/>
    </dgm:pt>
    <dgm:pt modelId="{45217AA6-6D83-4920-A816-DBB0EE54163A}" type="pres">
      <dgm:prSet presAssocID="{9998D0C3-FBAF-40B2-80C7-613435737073}" presName="text_2" presStyleLbl="node1" presStyleIdx="1" presStyleCnt="7">
        <dgm:presLayoutVars>
          <dgm:bulletEnabled val="1"/>
        </dgm:presLayoutVars>
      </dgm:prSet>
      <dgm:spPr/>
    </dgm:pt>
    <dgm:pt modelId="{DB3D8DA4-5497-4AF3-A9E4-0BA3E45E1A82}" type="pres">
      <dgm:prSet presAssocID="{9998D0C3-FBAF-40B2-80C7-613435737073}" presName="accent_2" presStyleCnt="0"/>
      <dgm:spPr/>
    </dgm:pt>
    <dgm:pt modelId="{46E6BFBE-656C-4D5C-8864-AACABD009E22}" type="pres">
      <dgm:prSet presAssocID="{9998D0C3-FBAF-40B2-80C7-613435737073}" presName="accentRepeatNode" presStyleLbl="solidFgAcc1" presStyleIdx="1" presStyleCnt="7"/>
      <dgm:spPr/>
    </dgm:pt>
    <dgm:pt modelId="{B35A5962-AE15-4425-B203-704556BC42AF}" type="pres">
      <dgm:prSet presAssocID="{8C06E2F2-A556-4736-81AC-FCA7B7229A9D}" presName="text_3" presStyleLbl="node1" presStyleIdx="2" presStyleCnt="7">
        <dgm:presLayoutVars>
          <dgm:bulletEnabled val="1"/>
        </dgm:presLayoutVars>
      </dgm:prSet>
      <dgm:spPr/>
    </dgm:pt>
    <dgm:pt modelId="{3725750F-A7B9-4470-98D3-68A5E25A3367}" type="pres">
      <dgm:prSet presAssocID="{8C06E2F2-A556-4736-81AC-FCA7B7229A9D}" presName="accent_3" presStyleCnt="0"/>
      <dgm:spPr/>
    </dgm:pt>
    <dgm:pt modelId="{BC135C4E-96C6-4061-A42D-E8BAD859EA63}" type="pres">
      <dgm:prSet presAssocID="{8C06E2F2-A556-4736-81AC-FCA7B7229A9D}" presName="accentRepeatNode" presStyleLbl="solidFgAcc1" presStyleIdx="2" presStyleCnt="7"/>
      <dgm:spPr/>
    </dgm:pt>
    <dgm:pt modelId="{EFA89D32-0552-4FCE-94F5-3C690C5BD89B}" type="pres">
      <dgm:prSet presAssocID="{ED710ABA-C267-4929-A9C3-7DC375DBF316}" presName="text_4" presStyleLbl="node1" presStyleIdx="3" presStyleCnt="7">
        <dgm:presLayoutVars>
          <dgm:bulletEnabled val="1"/>
        </dgm:presLayoutVars>
      </dgm:prSet>
      <dgm:spPr/>
    </dgm:pt>
    <dgm:pt modelId="{A4464B5A-D3F5-44B9-8040-FEF0D24EFB04}" type="pres">
      <dgm:prSet presAssocID="{ED710ABA-C267-4929-A9C3-7DC375DBF316}" presName="accent_4" presStyleCnt="0"/>
      <dgm:spPr/>
    </dgm:pt>
    <dgm:pt modelId="{3B295E3F-DD60-4244-A6E7-154B95E88A52}" type="pres">
      <dgm:prSet presAssocID="{ED710ABA-C267-4929-A9C3-7DC375DBF316}" presName="accentRepeatNode" presStyleLbl="solidFgAcc1" presStyleIdx="3" presStyleCnt="7"/>
      <dgm:spPr/>
    </dgm:pt>
    <dgm:pt modelId="{FF9A8D67-C541-4F94-AAA4-4B3DD3697A8D}" type="pres">
      <dgm:prSet presAssocID="{FA13577D-7E59-4097-A6DF-9B89C347DE6A}" presName="text_5" presStyleLbl="node1" presStyleIdx="4" presStyleCnt="7">
        <dgm:presLayoutVars>
          <dgm:bulletEnabled val="1"/>
        </dgm:presLayoutVars>
      </dgm:prSet>
      <dgm:spPr/>
    </dgm:pt>
    <dgm:pt modelId="{1E0FC945-3AB0-4EEA-B1E6-D6E0DF2FD18A}" type="pres">
      <dgm:prSet presAssocID="{FA13577D-7E59-4097-A6DF-9B89C347DE6A}" presName="accent_5" presStyleCnt="0"/>
      <dgm:spPr/>
    </dgm:pt>
    <dgm:pt modelId="{7F194077-2FBB-40D7-9DD8-CA755F288D43}" type="pres">
      <dgm:prSet presAssocID="{FA13577D-7E59-4097-A6DF-9B89C347DE6A}" presName="accentRepeatNode" presStyleLbl="solidFgAcc1" presStyleIdx="4" presStyleCnt="7"/>
      <dgm:spPr/>
    </dgm:pt>
    <dgm:pt modelId="{CF2A1027-5AA5-484D-8E83-0EF7712AE3D0}" type="pres">
      <dgm:prSet presAssocID="{5A13C0F6-A929-4FB6-84A3-A243C587C680}" presName="text_6" presStyleLbl="node1" presStyleIdx="5" presStyleCnt="7">
        <dgm:presLayoutVars>
          <dgm:bulletEnabled val="1"/>
        </dgm:presLayoutVars>
      </dgm:prSet>
      <dgm:spPr/>
    </dgm:pt>
    <dgm:pt modelId="{B91ED8DC-E26D-43FD-AA31-F06DD9FBCD25}" type="pres">
      <dgm:prSet presAssocID="{5A13C0F6-A929-4FB6-84A3-A243C587C680}" presName="accent_6" presStyleCnt="0"/>
      <dgm:spPr/>
    </dgm:pt>
    <dgm:pt modelId="{053E54EA-C7BA-49D6-90F3-D89060461BC8}" type="pres">
      <dgm:prSet presAssocID="{5A13C0F6-A929-4FB6-84A3-A243C587C680}" presName="accentRepeatNode" presStyleLbl="solidFgAcc1" presStyleIdx="5" presStyleCnt="7"/>
      <dgm:spPr/>
    </dgm:pt>
    <dgm:pt modelId="{A3DF0779-53D2-42CF-8294-E14B8AFCD4DC}" type="pres">
      <dgm:prSet presAssocID="{F0F093BC-4F9E-461F-932C-EC320A3FF02F}" presName="text_7" presStyleLbl="node1" presStyleIdx="6" presStyleCnt="7">
        <dgm:presLayoutVars>
          <dgm:bulletEnabled val="1"/>
        </dgm:presLayoutVars>
      </dgm:prSet>
      <dgm:spPr/>
    </dgm:pt>
    <dgm:pt modelId="{F30B4F82-2296-42AF-8E9E-BEA6E010D7ED}" type="pres">
      <dgm:prSet presAssocID="{F0F093BC-4F9E-461F-932C-EC320A3FF02F}" presName="accent_7" presStyleCnt="0"/>
      <dgm:spPr/>
    </dgm:pt>
    <dgm:pt modelId="{AAB2BFE7-3D1D-4693-9374-3DA87AD901B4}" type="pres">
      <dgm:prSet presAssocID="{F0F093BC-4F9E-461F-932C-EC320A3FF02F}" presName="accentRepeatNode" presStyleLbl="solidFgAcc1" presStyleIdx="6" presStyleCnt="7"/>
      <dgm:spPr/>
    </dgm:pt>
  </dgm:ptLst>
  <dgm:cxnLst>
    <dgm:cxn modelId="{981C8A0B-3F6B-4550-9F02-B8AA4F04F308}" srcId="{22A52673-6EF9-4C7F-8C4B-66899416D7EB}" destId="{4440BB35-E3C1-404A-8084-2AD3A59EB851}" srcOrd="0" destOrd="0" parTransId="{E444C5AE-F6C4-4AD2-89C7-D670FDC6EA1C}" sibTransId="{6023BFF9-FEB8-4BFF-B935-625EEABD6924}"/>
    <dgm:cxn modelId="{EA8DDA1D-F1C8-41FF-8388-4DE5F5D85CB8}" type="presOf" srcId="{6023BFF9-FEB8-4BFF-B935-625EEABD6924}" destId="{7DA72330-D779-4DE2-B6F2-FF6FFF70BFFB}" srcOrd="0" destOrd="0" presId="urn:microsoft.com/office/officeart/2008/layout/VerticalCurvedList"/>
    <dgm:cxn modelId="{9462F920-EBFC-4DD9-A96D-D8FFFF49EB14}" type="presOf" srcId="{ED710ABA-C267-4929-A9C3-7DC375DBF316}" destId="{EFA89D32-0552-4FCE-94F5-3C690C5BD89B}" srcOrd="0" destOrd="0" presId="urn:microsoft.com/office/officeart/2008/layout/VerticalCurvedList"/>
    <dgm:cxn modelId="{F9745D2C-7F75-4201-8927-00FE7416286B}" srcId="{22A52673-6EF9-4C7F-8C4B-66899416D7EB}" destId="{ED710ABA-C267-4929-A9C3-7DC375DBF316}" srcOrd="3" destOrd="0" parTransId="{4B6BFBED-C6A2-4C61-83B0-27496C72A7B3}" sibTransId="{9940312C-B9A8-4BB5-ADFB-9AF26C39CD21}"/>
    <dgm:cxn modelId="{F1318E3A-7DE3-4F67-B9ED-7BB35C505855}" type="presOf" srcId="{22A52673-6EF9-4C7F-8C4B-66899416D7EB}" destId="{4903B06D-1946-4F85-ABAC-91F2B53D64EF}" srcOrd="0" destOrd="0" presId="urn:microsoft.com/office/officeart/2008/layout/VerticalCurvedList"/>
    <dgm:cxn modelId="{49D2C243-493A-4E6B-A9D9-A89AE81BEECF}" type="presOf" srcId="{F0F093BC-4F9E-461F-932C-EC320A3FF02F}" destId="{A3DF0779-53D2-42CF-8294-E14B8AFCD4DC}" srcOrd="0" destOrd="0" presId="urn:microsoft.com/office/officeart/2008/layout/VerticalCurvedList"/>
    <dgm:cxn modelId="{4CB6AC4F-F457-4AC7-BBED-201DC5DEE38E}" type="presOf" srcId="{4440BB35-E3C1-404A-8084-2AD3A59EB851}" destId="{76D746FA-9E07-45AE-AC6D-8DAE81630ACD}" srcOrd="0" destOrd="0" presId="urn:microsoft.com/office/officeart/2008/layout/VerticalCurvedList"/>
    <dgm:cxn modelId="{32F34558-DDB8-4B8E-A3A4-8545E29AAA16}" type="presOf" srcId="{8C06E2F2-A556-4736-81AC-FCA7B7229A9D}" destId="{B35A5962-AE15-4425-B203-704556BC42AF}" srcOrd="0" destOrd="0" presId="urn:microsoft.com/office/officeart/2008/layout/VerticalCurvedList"/>
    <dgm:cxn modelId="{FEAD9E85-CBF6-4B38-AB5B-460CFC2C3AC1}" srcId="{22A52673-6EF9-4C7F-8C4B-66899416D7EB}" destId="{9998D0C3-FBAF-40B2-80C7-613435737073}" srcOrd="1" destOrd="0" parTransId="{F026626A-025F-4EC3-B6DF-7C7AF5844987}" sibTransId="{CC4F56FB-42B1-4EC3-91C1-839E0C70F6B0}"/>
    <dgm:cxn modelId="{1AA4C69A-1E2F-4A79-9028-41487BA64FE6}" srcId="{22A52673-6EF9-4C7F-8C4B-66899416D7EB}" destId="{F0F093BC-4F9E-461F-932C-EC320A3FF02F}" srcOrd="6" destOrd="0" parTransId="{4620BD46-CE9D-4362-A44D-5351BBD4CEDE}" sibTransId="{B9D86564-6742-443C-9A94-60180562CCDA}"/>
    <dgm:cxn modelId="{6835BCA1-13B0-4494-B8F4-8DB0857F3FE9}" type="presOf" srcId="{FA13577D-7E59-4097-A6DF-9B89C347DE6A}" destId="{FF9A8D67-C541-4F94-AAA4-4B3DD3697A8D}" srcOrd="0" destOrd="0" presId="urn:microsoft.com/office/officeart/2008/layout/VerticalCurvedList"/>
    <dgm:cxn modelId="{39CC8EA5-0459-47C0-95E6-13103AE6E672}" srcId="{22A52673-6EF9-4C7F-8C4B-66899416D7EB}" destId="{8C06E2F2-A556-4736-81AC-FCA7B7229A9D}" srcOrd="2" destOrd="0" parTransId="{AC6BD0E5-22E7-4726-97BC-E15200E17641}" sibTransId="{998EA605-CF7A-4770-9BAB-D62FAC097C65}"/>
    <dgm:cxn modelId="{A902C0A7-06AB-480D-8020-AFFD56E6C40D}" type="presOf" srcId="{5A13C0F6-A929-4FB6-84A3-A243C587C680}" destId="{CF2A1027-5AA5-484D-8E83-0EF7712AE3D0}" srcOrd="0" destOrd="0" presId="urn:microsoft.com/office/officeart/2008/layout/VerticalCurvedList"/>
    <dgm:cxn modelId="{DB14B6AC-A32B-4A9E-89F6-C49E90A4D8CD}" type="presOf" srcId="{9998D0C3-FBAF-40B2-80C7-613435737073}" destId="{45217AA6-6D83-4920-A816-DBB0EE54163A}" srcOrd="0" destOrd="0" presId="urn:microsoft.com/office/officeart/2008/layout/VerticalCurvedList"/>
    <dgm:cxn modelId="{1343F2B3-A5B2-4BB4-9BFA-167039EB91CD}" srcId="{22A52673-6EF9-4C7F-8C4B-66899416D7EB}" destId="{5A13C0F6-A929-4FB6-84A3-A243C587C680}" srcOrd="5" destOrd="0" parTransId="{B5BCF770-F01F-47F0-A446-F765859A2BD6}" sibTransId="{A41DFDD3-2469-4B56-80F6-C046F5E99F60}"/>
    <dgm:cxn modelId="{A7BFD0EB-110F-4C9C-A0E5-47D40D2457B4}" srcId="{22A52673-6EF9-4C7F-8C4B-66899416D7EB}" destId="{FA13577D-7E59-4097-A6DF-9B89C347DE6A}" srcOrd="4" destOrd="0" parTransId="{329F21A0-02BA-4A36-A77C-FE1B2BEF6825}" sibTransId="{DFC724D3-ACB2-4B5A-B6F3-804D55702FB1}"/>
    <dgm:cxn modelId="{13A1F7D9-CD4A-4D55-89C2-DCAA255BE060}" type="presParOf" srcId="{4903B06D-1946-4F85-ABAC-91F2B53D64EF}" destId="{1FB1AF7E-91CA-479A-A91D-B05E8FB57112}" srcOrd="0" destOrd="0" presId="urn:microsoft.com/office/officeart/2008/layout/VerticalCurvedList"/>
    <dgm:cxn modelId="{BB6974A9-6FBD-489B-A11C-21AD7C890372}" type="presParOf" srcId="{1FB1AF7E-91CA-479A-A91D-B05E8FB57112}" destId="{87AABF78-5371-4538-8E8A-4A204F6DF93D}" srcOrd="0" destOrd="0" presId="urn:microsoft.com/office/officeart/2008/layout/VerticalCurvedList"/>
    <dgm:cxn modelId="{2FC9C37D-3457-43C9-ADB5-790794CBF772}" type="presParOf" srcId="{87AABF78-5371-4538-8E8A-4A204F6DF93D}" destId="{B49F47AB-091F-468E-A459-927CFF4779F4}" srcOrd="0" destOrd="0" presId="urn:microsoft.com/office/officeart/2008/layout/VerticalCurvedList"/>
    <dgm:cxn modelId="{1065A30F-6818-4CE5-954B-CF23CE163C27}" type="presParOf" srcId="{87AABF78-5371-4538-8E8A-4A204F6DF93D}" destId="{7DA72330-D779-4DE2-B6F2-FF6FFF70BFFB}" srcOrd="1" destOrd="0" presId="urn:microsoft.com/office/officeart/2008/layout/VerticalCurvedList"/>
    <dgm:cxn modelId="{2E781E63-9125-43FE-B542-DBA8C0C655E2}" type="presParOf" srcId="{87AABF78-5371-4538-8E8A-4A204F6DF93D}" destId="{1F1F78A8-8674-4AF8-A9D0-097552DEB5C0}" srcOrd="2" destOrd="0" presId="urn:microsoft.com/office/officeart/2008/layout/VerticalCurvedList"/>
    <dgm:cxn modelId="{1E277182-4D5D-4166-AB65-BC6A4430715A}" type="presParOf" srcId="{87AABF78-5371-4538-8E8A-4A204F6DF93D}" destId="{96933ECC-8B22-4CF5-A8FC-44D605D334A7}" srcOrd="3" destOrd="0" presId="urn:microsoft.com/office/officeart/2008/layout/VerticalCurvedList"/>
    <dgm:cxn modelId="{F143A585-E98C-43CF-B1DA-959D21CF3950}" type="presParOf" srcId="{1FB1AF7E-91CA-479A-A91D-B05E8FB57112}" destId="{76D746FA-9E07-45AE-AC6D-8DAE81630ACD}" srcOrd="1" destOrd="0" presId="urn:microsoft.com/office/officeart/2008/layout/VerticalCurvedList"/>
    <dgm:cxn modelId="{23D1B999-CB17-46FC-A284-9B052C70A9B1}" type="presParOf" srcId="{1FB1AF7E-91CA-479A-A91D-B05E8FB57112}" destId="{C8B66D4D-35F3-4C57-9F1D-FDEC1C4DE4EF}" srcOrd="2" destOrd="0" presId="urn:microsoft.com/office/officeart/2008/layout/VerticalCurvedList"/>
    <dgm:cxn modelId="{7D0AE72E-6F05-4E71-A94B-0BA1A380970D}" type="presParOf" srcId="{C8B66D4D-35F3-4C57-9F1D-FDEC1C4DE4EF}" destId="{1FE0BA52-5DB5-4151-8DF5-020E1419E5E0}" srcOrd="0" destOrd="0" presId="urn:microsoft.com/office/officeart/2008/layout/VerticalCurvedList"/>
    <dgm:cxn modelId="{087788B0-642B-4CC9-ACF6-8D470F836E8F}" type="presParOf" srcId="{1FB1AF7E-91CA-479A-A91D-B05E8FB57112}" destId="{45217AA6-6D83-4920-A816-DBB0EE54163A}" srcOrd="3" destOrd="0" presId="urn:microsoft.com/office/officeart/2008/layout/VerticalCurvedList"/>
    <dgm:cxn modelId="{79EBA5F9-046F-48F2-A1A9-C0C6B9AEC50B}" type="presParOf" srcId="{1FB1AF7E-91CA-479A-A91D-B05E8FB57112}" destId="{DB3D8DA4-5497-4AF3-A9E4-0BA3E45E1A82}" srcOrd="4" destOrd="0" presId="urn:microsoft.com/office/officeart/2008/layout/VerticalCurvedList"/>
    <dgm:cxn modelId="{004DCBEA-E026-447F-8F47-FCADAFDFE78B}" type="presParOf" srcId="{DB3D8DA4-5497-4AF3-A9E4-0BA3E45E1A82}" destId="{46E6BFBE-656C-4D5C-8864-AACABD009E22}" srcOrd="0" destOrd="0" presId="urn:microsoft.com/office/officeart/2008/layout/VerticalCurvedList"/>
    <dgm:cxn modelId="{E59469D6-A2F5-4A7C-B92E-DA3E75B47B9E}" type="presParOf" srcId="{1FB1AF7E-91CA-479A-A91D-B05E8FB57112}" destId="{B35A5962-AE15-4425-B203-704556BC42AF}" srcOrd="5" destOrd="0" presId="urn:microsoft.com/office/officeart/2008/layout/VerticalCurvedList"/>
    <dgm:cxn modelId="{9B3DD197-7384-4972-8FD7-4F4CEF275C36}" type="presParOf" srcId="{1FB1AF7E-91CA-479A-A91D-B05E8FB57112}" destId="{3725750F-A7B9-4470-98D3-68A5E25A3367}" srcOrd="6" destOrd="0" presId="urn:microsoft.com/office/officeart/2008/layout/VerticalCurvedList"/>
    <dgm:cxn modelId="{BC834E02-C1C9-46E6-94F9-F8912C655167}" type="presParOf" srcId="{3725750F-A7B9-4470-98D3-68A5E25A3367}" destId="{BC135C4E-96C6-4061-A42D-E8BAD859EA63}" srcOrd="0" destOrd="0" presId="urn:microsoft.com/office/officeart/2008/layout/VerticalCurvedList"/>
    <dgm:cxn modelId="{70955D9C-FED4-46C0-AC47-43CBBFCD2368}" type="presParOf" srcId="{1FB1AF7E-91CA-479A-A91D-B05E8FB57112}" destId="{EFA89D32-0552-4FCE-94F5-3C690C5BD89B}" srcOrd="7" destOrd="0" presId="urn:microsoft.com/office/officeart/2008/layout/VerticalCurvedList"/>
    <dgm:cxn modelId="{1535ACD3-7CBD-4ACD-BC9C-8014B06A49DE}" type="presParOf" srcId="{1FB1AF7E-91CA-479A-A91D-B05E8FB57112}" destId="{A4464B5A-D3F5-44B9-8040-FEF0D24EFB04}" srcOrd="8" destOrd="0" presId="urn:microsoft.com/office/officeart/2008/layout/VerticalCurvedList"/>
    <dgm:cxn modelId="{A4A396E1-89F7-4274-8E72-178E69522EB6}" type="presParOf" srcId="{A4464B5A-D3F5-44B9-8040-FEF0D24EFB04}" destId="{3B295E3F-DD60-4244-A6E7-154B95E88A52}" srcOrd="0" destOrd="0" presId="urn:microsoft.com/office/officeart/2008/layout/VerticalCurvedList"/>
    <dgm:cxn modelId="{555F065A-72B0-4725-9B8C-683D4FC8BB7E}" type="presParOf" srcId="{1FB1AF7E-91CA-479A-A91D-B05E8FB57112}" destId="{FF9A8D67-C541-4F94-AAA4-4B3DD3697A8D}" srcOrd="9" destOrd="0" presId="urn:microsoft.com/office/officeart/2008/layout/VerticalCurvedList"/>
    <dgm:cxn modelId="{9BBFF2DE-316C-4CCC-97B1-56F2FFF73D43}" type="presParOf" srcId="{1FB1AF7E-91CA-479A-A91D-B05E8FB57112}" destId="{1E0FC945-3AB0-4EEA-B1E6-D6E0DF2FD18A}" srcOrd="10" destOrd="0" presId="urn:microsoft.com/office/officeart/2008/layout/VerticalCurvedList"/>
    <dgm:cxn modelId="{7E96A377-7552-490F-940A-99B2A7C86072}" type="presParOf" srcId="{1E0FC945-3AB0-4EEA-B1E6-D6E0DF2FD18A}" destId="{7F194077-2FBB-40D7-9DD8-CA755F288D43}" srcOrd="0" destOrd="0" presId="urn:microsoft.com/office/officeart/2008/layout/VerticalCurvedList"/>
    <dgm:cxn modelId="{0F35A861-ACA7-4839-B5D1-440FE3F03FCB}" type="presParOf" srcId="{1FB1AF7E-91CA-479A-A91D-B05E8FB57112}" destId="{CF2A1027-5AA5-484D-8E83-0EF7712AE3D0}" srcOrd="11" destOrd="0" presId="urn:microsoft.com/office/officeart/2008/layout/VerticalCurvedList"/>
    <dgm:cxn modelId="{944A379C-BB43-4F4C-A72A-F73BB3D3829B}" type="presParOf" srcId="{1FB1AF7E-91CA-479A-A91D-B05E8FB57112}" destId="{B91ED8DC-E26D-43FD-AA31-F06DD9FBCD25}" srcOrd="12" destOrd="0" presId="urn:microsoft.com/office/officeart/2008/layout/VerticalCurvedList"/>
    <dgm:cxn modelId="{928E2464-2BD3-4990-A114-17D4390686A3}" type="presParOf" srcId="{B91ED8DC-E26D-43FD-AA31-F06DD9FBCD25}" destId="{053E54EA-C7BA-49D6-90F3-D89060461BC8}" srcOrd="0" destOrd="0" presId="urn:microsoft.com/office/officeart/2008/layout/VerticalCurvedList"/>
    <dgm:cxn modelId="{6A25BEAA-237D-4599-B1E1-E7C4AC2CEF61}" type="presParOf" srcId="{1FB1AF7E-91CA-479A-A91D-B05E8FB57112}" destId="{A3DF0779-53D2-42CF-8294-E14B8AFCD4DC}" srcOrd="13" destOrd="0" presId="urn:microsoft.com/office/officeart/2008/layout/VerticalCurvedList"/>
    <dgm:cxn modelId="{5271166F-01A6-4252-9F72-ABD9E63C34B5}" type="presParOf" srcId="{1FB1AF7E-91CA-479A-A91D-B05E8FB57112}" destId="{F30B4F82-2296-42AF-8E9E-BEA6E010D7ED}" srcOrd="14" destOrd="0" presId="urn:microsoft.com/office/officeart/2008/layout/VerticalCurvedList"/>
    <dgm:cxn modelId="{711982E8-2EB4-4FD9-887B-4249D40C933E}" type="presParOf" srcId="{F30B4F82-2296-42AF-8E9E-BEA6E010D7ED}" destId="{AAB2BFE7-3D1D-4693-9374-3DA87AD901B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7904C0-7640-4141-961B-8F565813523C}">
      <dsp:nvSpPr>
        <dsp:cNvPr id="0" name=""/>
        <dsp:cNvSpPr/>
      </dsp:nvSpPr>
      <dsp:spPr>
        <a:xfrm>
          <a:off x="419722" y="0"/>
          <a:ext cx="11017195" cy="4941581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442EDA-79DC-47DC-9760-A5F732F4A533}">
      <dsp:nvSpPr>
        <dsp:cNvPr id="0" name=""/>
        <dsp:cNvSpPr/>
      </dsp:nvSpPr>
      <dsp:spPr>
        <a:xfrm>
          <a:off x="913309" y="4166007"/>
          <a:ext cx="226480" cy="226482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BE8AA35-65DD-4869-B316-679F20C55DC1}">
      <dsp:nvSpPr>
        <dsp:cNvPr id="0" name=""/>
        <dsp:cNvSpPr/>
      </dsp:nvSpPr>
      <dsp:spPr>
        <a:xfrm>
          <a:off x="2633941" y="3422878"/>
          <a:ext cx="1842221" cy="14281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8927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+mj-lt"/>
            </a:rPr>
            <a:t>2000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+mj-lt"/>
              <a:cs typeface="Calibri" panose="020F0502020204030204" pitchFamily="34" charset="0"/>
            </a:rPr>
            <a:t>RNN, 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1"/>
            </a:buClr>
            <a:buSzTx/>
            <a:buNone/>
          </a:pPr>
          <a:r>
            <a:rPr lang="en-IN" sz="1400" kern="1200" baseline="0" dirty="0">
              <a:latin typeface="+mj-lt"/>
              <a:cs typeface="Calibri" panose="020F0502020204030204" pitchFamily="34" charset="0"/>
            </a:rPr>
            <a:t>LSTM</a:t>
          </a:r>
          <a:r>
            <a:rPr lang="en-IN" sz="1400" kern="1200" dirty="0">
              <a:latin typeface="+mj-lt"/>
              <a:cs typeface="Calibri" panose="020F0502020204030204" pitchFamily="34" charset="0"/>
            </a:rPr>
            <a:t>s</a:t>
          </a:r>
          <a:endParaRPr lang="en-IN" sz="1400" kern="1200" dirty="0">
            <a:latin typeface="+mj-lt"/>
          </a:endParaRPr>
        </a:p>
      </dsp:txBody>
      <dsp:txXfrm>
        <a:off x="2633941" y="3422878"/>
        <a:ext cx="1842221" cy="1428116"/>
      </dsp:txXfrm>
    </dsp:sp>
    <dsp:sp modelId="{DB82B4AE-F697-4649-9CDC-08D376215344}">
      <dsp:nvSpPr>
        <dsp:cNvPr id="0" name=""/>
        <dsp:cNvSpPr/>
      </dsp:nvSpPr>
      <dsp:spPr>
        <a:xfrm>
          <a:off x="1418005" y="3692161"/>
          <a:ext cx="299972" cy="283837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06454A-3A62-4CCE-B755-37FAAC0ED1F2}">
      <dsp:nvSpPr>
        <dsp:cNvPr id="0" name=""/>
        <dsp:cNvSpPr/>
      </dsp:nvSpPr>
      <dsp:spPr>
        <a:xfrm>
          <a:off x="4979536" y="2253360"/>
          <a:ext cx="1897567" cy="26882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6907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kern="1200" dirty="0"/>
        </a:p>
      </dsp:txBody>
      <dsp:txXfrm>
        <a:off x="4979536" y="2253360"/>
        <a:ext cx="1897567" cy="2688220"/>
      </dsp:txXfrm>
    </dsp:sp>
    <dsp:sp modelId="{B7E40571-F755-4680-8FC5-8967D5CE2E52}">
      <dsp:nvSpPr>
        <dsp:cNvPr id="0" name=""/>
        <dsp:cNvSpPr/>
      </dsp:nvSpPr>
      <dsp:spPr>
        <a:xfrm>
          <a:off x="2159856" y="3000615"/>
          <a:ext cx="513924" cy="513924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8337D2-BA2B-4FBE-8F8D-1B471FC2BA85}">
      <dsp:nvSpPr>
        <dsp:cNvPr id="0" name=""/>
        <dsp:cNvSpPr/>
      </dsp:nvSpPr>
      <dsp:spPr>
        <a:xfrm>
          <a:off x="6301514" y="1797835"/>
          <a:ext cx="1897567" cy="19341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2318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kern="1200" dirty="0"/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kern="1200" dirty="0"/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/>
            <a:t>2020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/>
            <a:t>GPT-3</a:t>
          </a:r>
          <a:endParaRPr lang="en-IN" sz="1600" kern="1200" dirty="0"/>
        </a:p>
      </dsp:txBody>
      <dsp:txXfrm>
        <a:off x="6301514" y="1797835"/>
        <a:ext cx="1897567" cy="19341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71728D-D2DF-4A9A-90B4-F528C6E86A5C}">
      <dsp:nvSpPr>
        <dsp:cNvPr id="0" name=""/>
        <dsp:cNvSpPr/>
      </dsp:nvSpPr>
      <dsp:spPr>
        <a:xfrm>
          <a:off x="7588330" y="1800464"/>
          <a:ext cx="222982" cy="17392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9260"/>
              </a:lnTo>
              <a:lnTo>
                <a:pt x="222982" y="1739260"/>
              </a:lnTo>
            </a:path>
          </a:pathLst>
        </a:custGeom>
        <a:noFill/>
        <a:ln w="25400" cap="flat" cmpd="sng" algn="ctr">
          <a:solidFill>
            <a:schemeClr val="accent1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0E5AF5-7430-4B00-8BB3-FF4A0778A6ED}">
      <dsp:nvSpPr>
        <dsp:cNvPr id="0" name=""/>
        <dsp:cNvSpPr/>
      </dsp:nvSpPr>
      <dsp:spPr>
        <a:xfrm>
          <a:off x="7588330" y="1800464"/>
          <a:ext cx="222982" cy="6838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3811"/>
              </a:lnTo>
              <a:lnTo>
                <a:pt x="222982" y="683811"/>
              </a:lnTo>
            </a:path>
          </a:pathLst>
        </a:custGeom>
        <a:noFill/>
        <a:ln w="25400" cap="flat" cmpd="sng" algn="ctr">
          <a:solidFill>
            <a:schemeClr val="accent1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293A95-9077-412A-9B0C-588860019670}">
      <dsp:nvSpPr>
        <dsp:cNvPr id="0" name=""/>
        <dsp:cNvSpPr/>
      </dsp:nvSpPr>
      <dsp:spPr>
        <a:xfrm>
          <a:off x="5484866" y="745015"/>
          <a:ext cx="2698083" cy="312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6087"/>
              </a:lnTo>
              <a:lnTo>
                <a:pt x="2698083" y="156087"/>
              </a:lnTo>
              <a:lnTo>
                <a:pt x="2698083" y="312174"/>
              </a:lnTo>
            </a:path>
          </a:pathLst>
        </a:custGeom>
        <a:noFill/>
        <a:ln w="254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B7AD1F-776A-4478-9EA2-8B3D99991DBD}">
      <dsp:nvSpPr>
        <dsp:cNvPr id="0" name=""/>
        <dsp:cNvSpPr/>
      </dsp:nvSpPr>
      <dsp:spPr>
        <a:xfrm>
          <a:off x="5789608" y="1800464"/>
          <a:ext cx="222982" cy="6838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3811"/>
              </a:lnTo>
              <a:lnTo>
                <a:pt x="222982" y="683811"/>
              </a:lnTo>
            </a:path>
          </a:pathLst>
        </a:custGeom>
        <a:noFill/>
        <a:ln w="25400" cap="flat" cmpd="sng" algn="ctr">
          <a:solidFill>
            <a:schemeClr val="accent1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78172B-7756-4037-B56C-898CCCAD9DAF}">
      <dsp:nvSpPr>
        <dsp:cNvPr id="0" name=""/>
        <dsp:cNvSpPr/>
      </dsp:nvSpPr>
      <dsp:spPr>
        <a:xfrm>
          <a:off x="5484866" y="745015"/>
          <a:ext cx="899361" cy="312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6087"/>
              </a:lnTo>
              <a:lnTo>
                <a:pt x="899361" y="156087"/>
              </a:lnTo>
              <a:lnTo>
                <a:pt x="899361" y="312174"/>
              </a:lnTo>
            </a:path>
          </a:pathLst>
        </a:custGeom>
        <a:noFill/>
        <a:ln w="254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142306-4318-4B7F-A13F-C0344AC4B095}">
      <dsp:nvSpPr>
        <dsp:cNvPr id="0" name=""/>
        <dsp:cNvSpPr/>
      </dsp:nvSpPr>
      <dsp:spPr>
        <a:xfrm>
          <a:off x="3990886" y="1800464"/>
          <a:ext cx="222982" cy="17392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9260"/>
              </a:lnTo>
              <a:lnTo>
                <a:pt x="222982" y="1739260"/>
              </a:lnTo>
            </a:path>
          </a:pathLst>
        </a:custGeom>
        <a:noFill/>
        <a:ln w="25400" cap="flat" cmpd="sng" algn="ctr">
          <a:solidFill>
            <a:schemeClr val="accent1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0CE754-474C-408C-A660-B2EF44040386}">
      <dsp:nvSpPr>
        <dsp:cNvPr id="0" name=""/>
        <dsp:cNvSpPr/>
      </dsp:nvSpPr>
      <dsp:spPr>
        <a:xfrm>
          <a:off x="3990886" y="1800464"/>
          <a:ext cx="222982" cy="6838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3811"/>
              </a:lnTo>
              <a:lnTo>
                <a:pt x="222982" y="683811"/>
              </a:lnTo>
            </a:path>
          </a:pathLst>
        </a:custGeom>
        <a:noFill/>
        <a:ln w="25400" cap="flat" cmpd="sng" algn="ctr">
          <a:solidFill>
            <a:schemeClr val="accent1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65B448-5442-4B8B-9762-A19A3AA388F6}">
      <dsp:nvSpPr>
        <dsp:cNvPr id="0" name=""/>
        <dsp:cNvSpPr/>
      </dsp:nvSpPr>
      <dsp:spPr>
        <a:xfrm>
          <a:off x="4585505" y="745015"/>
          <a:ext cx="899361" cy="312174"/>
        </a:xfrm>
        <a:custGeom>
          <a:avLst/>
          <a:gdLst/>
          <a:ahLst/>
          <a:cxnLst/>
          <a:rect l="0" t="0" r="0" b="0"/>
          <a:pathLst>
            <a:path>
              <a:moveTo>
                <a:pt x="899361" y="0"/>
              </a:moveTo>
              <a:lnTo>
                <a:pt x="899361" y="156087"/>
              </a:lnTo>
              <a:lnTo>
                <a:pt x="0" y="156087"/>
              </a:lnTo>
              <a:lnTo>
                <a:pt x="0" y="312174"/>
              </a:lnTo>
            </a:path>
          </a:pathLst>
        </a:custGeom>
        <a:noFill/>
        <a:ln w="254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4AE38E-EDC6-440F-B03F-37FE0A007F95}">
      <dsp:nvSpPr>
        <dsp:cNvPr id="0" name=""/>
        <dsp:cNvSpPr/>
      </dsp:nvSpPr>
      <dsp:spPr>
        <a:xfrm>
          <a:off x="2192163" y="1800464"/>
          <a:ext cx="222982" cy="27947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94708"/>
              </a:lnTo>
              <a:lnTo>
                <a:pt x="222982" y="2794708"/>
              </a:lnTo>
            </a:path>
          </a:pathLst>
        </a:custGeom>
        <a:noFill/>
        <a:ln w="25400" cap="flat" cmpd="sng" algn="ctr">
          <a:solidFill>
            <a:schemeClr val="accent1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49C8B1-5F2C-4C06-929B-8B7440ED81D4}">
      <dsp:nvSpPr>
        <dsp:cNvPr id="0" name=""/>
        <dsp:cNvSpPr/>
      </dsp:nvSpPr>
      <dsp:spPr>
        <a:xfrm>
          <a:off x="2192163" y="1800464"/>
          <a:ext cx="222982" cy="17392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9260"/>
              </a:lnTo>
              <a:lnTo>
                <a:pt x="222982" y="1739260"/>
              </a:lnTo>
            </a:path>
          </a:pathLst>
        </a:custGeom>
        <a:noFill/>
        <a:ln w="25400" cap="flat" cmpd="sng" algn="ctr">
          <a:solidFill>
            <a:schemeClr val="accent1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CCC0A3-6191-4F16-94E8-D744F2256755}">
      <dsp:nvSpPr>
        <dsp:cNvPr id="0" name=""/>
        <dsp:cNvSpPr/>
      </dsp:nvSpPr>
      <dsp:spPr>
        <a:xfrm>
          <a:off x="2192163" y="1800464"/>
          <a:ext cx="222982" cy="6838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3811"/>
              </a:lnTo>
              <a:lnTo>
                <a:pt x="222982" y="683811"/>
              </a:lnTo>
            </a:path>
          </a:pathLst>
        </a:custGeom>
        <a:noFill/>
        <a:ln w="25400" cap="flat" cmpd="sng" algn="ctr">
          <a:solidFill>
            <a:schemeClr val="accent1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9839C6-5A92-479E-BADE-056DC40BC949}">
      <dsp:nvSpPr>
        <dsp:cNvPr id="0" name=""/>
        <dsp:cNvSpPr/>
      </dsp:nvSpPr>
      <dsp:spPr>
        <a:xfrm>
          <a:off x="2786782" y="745015"/>
          <a:ext cx="2698083" cy="312174"/>
        </a:xfrm>
        <a:custGeom>
          <a:avLst/>
          <a:gdLst/>
          <a:ahLst/>
          <a:cxnLst/>
          <a:rect l="0" t="0" r="0" b="0"/>
          <a:pathLst>
            <a:path>
              <a:moveTo>
                <a:pt x="2698083" y="0"/>
              </a:moveTo>
              <a:lnTo>
                <a:pt x="2698083" y="156087"/>
              </a:lnTo>
              <a:lnTo>
                <a:pt x="0" y="156087"/>
              </a:lnTo>
              <a:lnTo>
                <a:pt x="0" y="312174"/>
              </a:lnTo>
            </a:path>
          </a:pathLst>
        </a:custGeom>
        <a:noFill/>
        <a:ln w="254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88370D-4F45-4C86-B0DE-46F155D5222F}">
      <dsp:nvSpPr>
        <dsp:cNvPr id="0" name=""/>
        <dsp:cNvSpPr/>
      </dsp:nvSpPr>
      <dsp:spPr>
        <a:xfrm>
          <a:off x="4741592" y="1742"/>
          <a:ext cx="1486547" cy="743273"/>
        </a:xfrm>
        <a:prstGeom prst="rect">
          <a:avLst/>
        </a:prstGeom>
        <a:solidFill>
          <a:schemeClr val="accent1">
            <a:alpha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Gen AI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(use cases)</a:t>
          </a:r>
        </a:p>
      </dsp:txBody>
      <dsp:txXfrm>
        <a:off x="4741592" y="1742"/>
        <a:ext cx="1486547" cy="743273"/>
      </dsp:txXfrm>
    </dsp:sp>
    <dsp:sp modelId="{0532D051-D6E0-4281-8EA7-B444740B0C17}">
      <dsp:nvSpPr>
        <dsp:cNvPr id="0" name=""/>
        <dsp:cNvSpPr/>
      </dsp:nvSpPr>
      <dsp:spPr>
        <a:xfrm>
          <a:off x="2043509" y="1057190"/>
          <a:ext cx="1486547" cy="743273"/>
        </a:xfrm>
        <a:prstGeom prst="rect">
          <a:avLst/>
        </a:prstGeom>
        <a:solidFill>
          <a:schemeClr val="accent1">
            <a:alpha val="7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Text Generation</a:t>
          </a:r>
        </a:p>
      </dsp:txBody>
      <dsp:txXfrm>
        <a:off x="2043509" y="1057190"/>
        <a:ext cx="1486547" cy="743273"/>
      </dsp:txXfrm>
    </dsp:sp>
    <dsp:sp modelId="{75C47290-EA2D-457D-83B9-A9558ADDE70C}">
      <dsp:nvSpPr>
        <dsp:cNvPr id="0" name=""/>
        <dsp:cNvSpPr/>
      </dsp:nvSpPr>
      <dsp:spPr>
        <a:xfrm>
          <a:off x="2415146" y="2112639"/>
          <a:ext cx="1486547" cy="743273"/>
        </a:xfrm>
        <a:prstGeom prst="rect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Chatbots</a:t>
          </a:r>
        </a:p>
      </dsp:txBody>
      <dsp:txXfrm>
        <a:off x="2415146" y="2112639"/>
        <a:ext cx="1486547" cy="743273"/>
      </dsp:txXfrm>
    </dsp:sp>
    <dsp:sp modelId="{2C203965-7E35-4448-A076-6E8ECD97A2FE}">
      <dsp:nvSpPr>
        <dsp:cNvPr id="0" name=""/>
        <dsp:cNvSpPr/>
      </dsp:nvSpPr>
      <dsp:spPr>
        <a:xfrm>
          <a:off x="2415146" y="3168087"/>
          <a:ext cx="1486547" cy="743273"/>
        </a:xfrm>
        <a:prstGeom prst="rect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Summary Generation</a:t>
          </a:r>
        </a:p>
      </dsp:txBody>
      <dsp:txXfrm>
        <a:off x="2415146" y="3168087"/>
        <a:ext cx="1486547" cy="743273"/>
      </dsp:txXfrm>
    </dsp:sp>
    <dsp:sp modelId="{4EEDA2F1-1CB8-459C-AF5F-EDD4B87E38D4}">
      <dsp:nvSpPr>
        <dsp:cNvPr id="0" name=""/>
        <dsp:cNvSpPr/>
      </dsp:nvSpPr>
      <dsp:spPr>
        <a:xfrm>
          <a:off x="2415146" y="4223536"/>
          <a:ext cx="1486547" cy="743273"/>
        </a:xfrm>
        <a:prstGeom prst="rect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Translation</a:t>
          </a:r>
        </a:p>
      </dsp:txBody>
      <dsp:txXfrm>
        <a:off x="2415146" y="4223536"/>
        <a:ext cx="1486547" cy="743273"/>
      </dsp:txXfrm>
    </dsp:sp>
    <dsp:sp modelId="{1DB85CD9-DFD2-49B0-929A-F36CED4ECE13}">
      <dsp:nvSpPr>
        <dsp:cNvPr id="0" name=""/>
        <dsp:cNvSpPr/>
      </dsp:nvSpPr>
      <dsp:spPr>
        <a:xfrm>
          <a:off x="3842231" y="1057190"/>
          <a:ext cx="1486547" cy="743273"/>
        </a:xfrm>
        <a:prstGeom prst="rect">
          <a:avLst/>
        </a:prstGeom>
        <a:solidFill>
          <a:schemeClr val="accent1">
            <a:alpha val="7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Visual Content</a:t>
          </a:r>
        </a:p>
      </dsp:txBody>
      <dsp:txXfrm>
        <a:off x="3842231" y="1057190"/>
        <a:ext cx="1486547" cy="743273"/>
      </dsp:txXfrm>
    </dsp:sp>
    <dsp:sp modelId="{7254C196-F28B-474E-9999-48C891895CEE}">
      <dsp:nvSpPr>
        <dsp:cNvPr id="0" name=""/>
        <dsp:cNvSpPr/>
      </dsp:nvSpPr>
      <dsp:spPr>
        <a:xfrm>
          <a:off x="4213868" y="2112639"/>
          <a:ext cx="1486547" cy="743273"/>
        </a:xfrm>
        <a:prstGeom prst="rect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Image Enhancement</a:t>
          </a:r>
        </a:p>
      </dsp:txBody>
      <dsp:txXfrm>
        <a:off x="4213868" y="2112639"/>
        <a:ext cx="1486547" cy="743273"/>
      </dsp:txXfrm>
    </dsp:sp>
    <dsp:sp modelId="{6DD4EC99-A54D-4022-A278-0404F9ADCF4A}">
      <dsp:nvSpPr>
        <dsp:cNvPr id="0" name=""/>
        <dsp:cNvSpPr/>
      </dsp:nvSpPr>
      <dsp:spPr>
        <a:xfrm>
          <a:off x="4213868" y="3168087"/>
          <a:ext cx="1486547" cy="743273"/>
        </a:xfrm>
        <a:prstGeom prst="rect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Video Generation</a:t>
          </a:r>
        </a:p>
      </dsp:txBody>
      <dsp:txXfrm>
        <a:off x="4213868" y="3168087"/>
        <a:ext cx="1486547" cy="743273"/>
      </dsp:txXfrm>
    </dsp:sp>
    <dsp:sp modelId="{87F5EB53-3D92-494F-A486-C64735492BDF}">
      <dsp:nvSpPr>
        <dsp:cNvPr id="0" name=""/>
        <dsp:cNvSpPr/>
      </dsp:nvSpPr>
      <dsp:spPr>
        <a:xfrm>
          <a:off x="5640953" y="1057190"/>
          <a:ext cx="1486547" cy="743273"/>
        </a:xfrm>
        <a:prstGeom prst="rect">
          <a:avLst/>
        </a:prstGeom>
        <a:solidFill>
          <a:schemeClr val="accent1">
            <a:alpha val="7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Audio Generation</a:t>
          </a:r>
        </a:p>
      </dsp:txBody>
      <dsp:txXfrm>
        <a:off x="5640953" y="1057190"/>
        <a:ext cx="1486547" cy="743273"/>
      </dsp:txXfrm>
    </dsp:sp>
    <dsp:sp modelId="{EB4D098F-DE29-4B9F-A01D-C0DFB086204B}">
      <dsp:nvSpPr>
        <dsp:cNvPr id="0" name=""/>
        <dsp:cNvSpPr/>
      </dsp:nvSpPr>
      <dsp:spPr>
        <a:xfrm>
          <a:off x="6012590" y="2112639"/>
          <a:ext cx="1486547" cy="743273"/>
        </a:xfrm>
        <a:prstGeom prst="rect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Music Composition</a:t>
          </a:r>
        </a:p>
      </dsp:txBody>
      <dsp:txXfrm>
        <a:off x="6012590" y="2112639"/>
        <a:ext cx="1486547" cy="743273"/>
      </dsp:txXfrm>
    </dsp:sp>
    <dsp:sp modelId="{8A36E7A3-93F6-4CE0-9348-DA5FFDDAA053}">
      <dsp:nvSpPr>
        <dsp:cNvPr id="0" name=""/>
        <dsp:cNvSpPr/>
      </dsp:nvSpPr>
      <dsp:spPr>
        <a:xfrm>
          <a:off x="7439675" y="1057190"/>
          <a:ext cx="1486547" cy="743273"/>
        </a:xfrm>
        <a:prstGeom prst="rect">
          <a:avLst/>
        </a:prstGeom>
        <a:solidFill>
          <a:schemeClr val="accent1">
            <a:alpha val="7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Code generation</a:t>
          </a:r>
        </a:p>
      </dsp:txBody>
      <dsp:txXfrm>
        <a:off x="7439675" y="1057190"/>
        <a:ext cx="1486547" cy="743273"/>
      </dsp:txXfrm>
    </dsp:sp>
    <dsp:sp modelId="{43BADCEF-1B9D-4226-A33B-49BF0568089A}">
      <dsp:nvSpPr>
        <dsp:cNvPr id="0" name=""/>
        <dsp:cNvSpPr/>
      </dsp:nvSpPr>
      <dsp:spPr>
        <a:xfrm>
          <a:off x="7811312" y="2112639"/>
          <a:ext cx="1486547" cy="743273"/>
        </a:xfrm>
        <a:prstGeom prst="rect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Bug Fixing</a:t>
          </a:r>
        </a:p>
      </dsp:txBody>
      <dsp:txXfrm>
        <a:off x="7811312" y="2112639"/>
        <a:ext cx="1486547" cy="743273"/>
      </dsp:txXfrm>
    </dsp:sp>
    <dsp:sp modelId="{DB13C183-0F06-4D26-9EAB-91F319AE3FB0}">
      <dsp:nvSpPr>
        <dsp:cNvPr id="0" name=""/>
        <dsp:cNvSpPr/>
      </dsp:nvSpPr>
      <dsp:spPr>
        <a:xfrm>
          <a:off x="7811312" y="3168087"/>
          <a:ext cx="1486547" cy="743273"/>
        </a:xfrm>
        <a:prstGeom prst="rect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Code Compilation</a:t>
          </a:r>
        </a:p>
      </dsp:txBody>
      <dsp:txXfrm>
        <a:off x="7811312" y="3168087"/>
        <a:ext cx="1486547" cy="74327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A72330-D779-4DE2-B6F2-FF6FFF70BFFB}">
      <dsp:nvSpPr>
        <dsp:cNvPr id="0" name=""/>
        <dsp:cNvSpPr/>
      </dsp:nvSpPr>
      <dsp:spPr>
        <a:xfrm>
          <a:off x="-4676342" y="-717044"/>
          <a:ext cx="5571554" cy="5571554"/>
        </a:xfrm>
        <a:prstGeom prst="blockArc">
          <a:avLst>
            <a:gd name="adj1" fmla="val 18900000"/>
            <a:gd name="adj2" fmla="val 2700000"/>
            <a:gd name="adj3" fmla="val 388"/>
          </a:avLst>
        </a:prstGeom>
        <a:noFill/>
        <a:ln w="25400" cap="flat" cmpd="sng" algn="ctr">
          <a:solidFill>
            <a:schemeClr val="accent1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D746FA-9E07-45AE-AC6D-8DAE81630ACD}">
      <dsp:nvSpPr>
        <dsp:cNvPr id="0" name=""/>
        <dsp:cNvSpPr/>
      </dsp:nvSpPr>
      <dsp:spPr>
        <a:xfrm>
          <a:off x="290243" y="188089"/>
          <a:ext cx="6742857" cy="376012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8460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200" b="0" i="0" kern="1200" dirty="0"/>
            <a:t>Directionless by default: Respond to prompts, but don’t set or pursue goals</a:t>
          </a:r>
        </a:p>
      </dsp:txBody>
      <dsp:txXfrm>
        <a:off x="290243" y="188089"/>
        <a:ext cx="6742857" cy="376012"/>
      </dsp:txXfrm>
    </dsp:sp>
    <dsp:sp modelId="{1FE0BA52-5DB5-4151-8DF5-020E1419E5E0}">
      <dsp:nvSpPr>
        <dsp:cNvPr id="0" name=""/>
        <dsp:cNvSpPr/>
      </dsp:nvSpPr>
      <dsp:spPr>
        <a:xfrm>
          <a:off x="55235" y="141087"/>
          <a:ext cx="470016" cy="4700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217AA6-6D83-4920-A816-DBB0EE54163A}">
      <dsp:nvSpPr>
        <dsp:cNvPr id="0" name=""/>
        <dsp:cNvSpPr/>
      </dsp:nvSpPr>
      <dsp:spPr>
        <a:xfrm>
          <a:off x="630756" y="752439"/>
          <a:ext cx="6402344" cy="376012"/>
        </a:xfrm>
        <a:prstGeom prst="rect">
          <a:avLst/>
        </a:prstGeom>
        <a:solidFill>
          <a:schemeClr val="accent1">
            <a:shade val="80000"/>
            <a:hueOff val="-44170"/>
            <a:satOff val="-11711"/>
            <a:lumOff val="667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8460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200" b="0" i="0" kern="1200" dirty="0"/>
            <a:t>Weak multi-step planning: Struggle to decompose and adapt complex tasks</a:t>
          </a:r>
        </a:p>
      </dsp:txBody>
      <dsp:txXfrm>
        <a:off x="630756" y="752439"/>
        <a:ext cx="6402344" cy="376012"/>
      </dsp:txXfrm>
    </dsp:sp>
    <dsp:sp modelId="{46E6BFBE-656C-4D5C-8864-AACABD009E22}">
      <dsp:nvSpPr>
        <dsp:cNvPr id="0" name=""/>
        <dsp:cNvSpPr/>
      </dsp:nvSpPr>
      <dsp:spPr>
        <a:xfrm>
          <a:off x="395748" y="705437"/>
          <a:ext cx="470016" cy="4700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-44170"/>
              <a:satOff val="-11711"/>
              <a:lumOff val="667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5A5962-AE15-4425-B203-704556BC42AF}">
      <dsp:nvSpPr>
        <dsp:cNvPr id="0" name=""/>
        <dsp:cNvSpPr/>
      </dsp:nvSpPr>
      <dsp:spPr>
        <a:xfrm>
          <a:off x="817356" y="1316376"/>
          <a:ext cx="6215744" cy="376012"/>
        </a:xfrm>
        <a:prstGeom prst="rect">
          <a:avLst/>
        </a:prstGeom>
        <a:solidFill>
          <a:schemeClr val="accent1">
            <a:shade val="80000"/>
            <a:hueOff val="-88340"/>
            <a:satOff val="-23422"/>
            <a:lumOff val="1334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8460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200" b="0" i="0" kern="1200" dirty="0"/>
            <a:t>Stateless and context-limited: No persistent memory; bounded context windows</a:t>
          </a:r>
        </a:p>
      </dsp:txBody>
      <dsp:txXfrm>
        <a:off x="817356" y="1316376"/>
        <a:ext cx="6215744" cy="376012"/>
      </dsp:txXfrm>
    </dsp:sp>
    <dsp:sp modelId="{BC135C4E-96C6-4061-A42D-E8BAD859EA63}">
      <dsp:nvSpPr>
        <dsp:cNvPr id="0" name=""/>
        <dsp:cNvSpPr/>
      </dsp:nvSpPr>
      <dsp:spPr>
        <a:xfrm>
          <a:off x="582348" y="1269374"/>
          <a:ext cx="470016" cy="4700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-88340"/>
              <a:satOff val="-23422"/>
              <a:lumOff val="1334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A89D32-0552-4FCE-94F5-3C690C5BD89B}">
      <dsp:nvSpPr>
        <dsp:cNvPr id="0" name=""/>
        <dsp:cNvSpPr/>
      </dsp:nvSpPr>
      <dsp:spPr>
        <a:xfrm>
          <a:off x="876935" y="1880726"/>
          <a:ext cx="6156164" cy="376012"/>
        </a:xfrm>
        <a:prstGeom prst="rect">
          <a:avLst/>
        </a:prstGeom>
        <a:solidFill>
          <a:schemeClr val="accent1">
            <a:shade val="80000"/>
            <a:hueOff val="-132511"/>
            <a:satOff val="-35133"/>
            <a:lumOff val="2001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8460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IN" sz="1200" b="0" i="0" kern="1200" dirty="0"/>
            <a:t>Unreliable outputs: Hallucinations; sensitive to phrasing; format inconsistency</a:t>
          </a:r>
        </a:p>
      </dsp:txBody>
      <dsp:txXfrm>
        <a:off x="876935" y="1880726"/>
        <a:ext cx="6156164" cy="376012"/>
      </dsp:txXfrm>
    </dsp:sp>
    <dsp:sp modelId="{3B295E3F-DD60-4244-A6E7-154B95E88A52}">
      <dsp:nvSpPr>
        <dsp:cNvPr id="0" name=""/>
        <dsp:cNvSpPr/>
      </dsp:nvSpPr>
      <dsp:spPr>
        <a:xfrm>
          <a:off x="641927" y="1833724"/>
          <a:ext cx="470016" cy="4700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-132511"/>
              <a:satOff val="-35133"/>
              <a:lumOff val="2001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9A8D67-C541-4F94-AAA4-4B3DD3697A8D}">
      <dsp:nvSpPr>
        <dsp:cNvPr id="0" name=""/>
        <dsp:cNvSpPr/>
      </dsp:nvSpPr>
      <dsp:spPr>
        <a:xfrm>
          <a:off x="817356" y="2445076"/>
          <a:ext cx="6215744" cy="376012"/>
        </a:xfrm>
        <a:prstGeom prst="rect">
          <a:avLst/>
        </a:prstGeom>
        <a:solidFill>
          <a:schemeClr val="accent1">
            <a:shade val="80000"/>
            <a:hueOff val="-176681"/>
            <a:satOff val="-46845"/>
            <a:lumOff val="266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8460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200" b="0" i="0" kern="1200"/>
            <a:t>No built-in verification: Limited self-checks; hard to guarantee correctness/compliance</a:t>
          </a:r>
        </a:p>
      </dsp:txBody>
      <dsp:txXfrm>
        <a:off x="817356" y="2445076"/>
        <a:ext cx="6215744" cy="376012"/>
      </dsp:txXfrm>
    </dsp:sp>
    <dsp:sp modelId="{7F194077-2FBB-40D7-9DD8-CA755F288D43}">
      <dsp:nvSpPr>
        <dsp:cNvPr id="0" name=""/>
        <dsp:cNvSpPr/>
      </dsp:nvSpPr>
      <dsp:spPr>
        <a:xfrm>
          <a:off x="582348" y="2398075"/>
          <a:ext cx="470016" cy="4700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-176681"/>
              <a:satOff val="-46845"/>
              <a:lumOff val="2668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F2A1027-5AA5-484D-8E83-0EF7712AE3D0}">
      <dsp:nvSpPr>
        <dsp:cNvPr id="0" name=""/>
        <dsp:cNvSpPr/>
      </dsp:nvSpPr>
      <dsp:spPr>
        <a:xfrm>
          <a:off x="630756" y="3009013"/>
          <a:ext cx="6402344" cy="376012"/>
        </a:xfrm>
        <a:prstGeom prst="rect">
          <a:avLst/>
        </a:prstGeom>
        <a:solidFill>
          <a:schemeClr val="accent1">
            <a:shade val="80000"/>
            <a:hueOff val="-220851"/>
            <a:satOff val="-58556"/>
            <a:lumOff val="333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8460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200" b="0" i="0" kern="1200"/>
            <a:t>Poor constraint satisfaction: Difficulty with strict schemas, rules, and resource limits</a:t>
          </a:r>
        </a:p>
      </dsp:txBody>
      <dsp:txXfrm>
        <a:off x="630756" y="3009013"/>
        <a:ext cx="6402344" cy="376012"/>
      </dsp:txXfrm>
    </dsp:sp>
    <dsp:sp modelId="{053E54EA-C7BA-49D6-90F3-D89060461BC8}">
      <dsp:nvSpPr>
        <dsp:cNvPr id="0" name=""/>
        <dsp:cNvSpPr/>
      </dsp:nvSpPr>
      <dsp:spPr>
        <a:xfrm>
          <a:off x="395748" y="2962011"/>
          <a:ext cx="470016" cy="4700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-220851"/>
              <a:satOff val="-58556"/>
              <a:lumOff val="3335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DF0779-53D2-42CF-8294-E14B8AFCD4DC}">
      <dsp:nvSpPr>
        <dsp:cNvPr id="0" name=""/>
        <dsp:cNvSpPr/>
      </dsp:nvSpPr>
      <dsp:spPr>
        <a:xfrm>
          <a:off x="290243" y="3573363"/>
          <a:ext cx="6742857" cy="376012"/>
        </a:xfrm>
        <a:prstGeom prst="rect">
          <a:avLst/>
        </a:prstGeom>
        <a:solidFill>
          <a:schemeClr val="accent1">
            <a:shade val="80000"/>
            <a:hueOff val="-265021"/>
            <a:satOff val="-70267"/>
            <a:lumOff val="400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8460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200" b="0" i="0" kern="1200"/>
            <a:t>No orchestration: Lacks scheduling, retries, error handling, and sub-task coordination</a:t>
          </a:r>
        </a:p>
      </dsp:txBody>
      <dsp:txXfrm>
        <a:off x="290243" y="3573363"/>
        <a:ext cx="6742857" cy="376012"/>
      </dsp:txXfrm>
    </dsp:sp>
    <dsp:sp modelId="{AAB2BFE7-3D1D-4693-9374-3DA87AD901B4}">
      <dsp:nvSpPr>
        <dsp:cNvPr id="0" name=""/>
        <dsp:cNvSpPr/>
      </dsp:nvSpPr>
      <dsp:spPr>
        <a:xfrm>
          <a:off x="55235" y="3526362"/>
          <a:ext cx="470016" cy="4700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-265021"/>
              <a:satOff val="-70267"/>
              <a:lumOff val="4002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5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6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30 Jan 2026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5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6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30 Jan 2026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 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2-09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47153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en-IN" dirty="0"/>
            </a:br>
            <a:endParaRPr lang="en-IN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5327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8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80997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47235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83302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9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72454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 </a:t>
            </a:r>
            <a:endParaRPr lang="en-US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2-09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0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1352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 </a:t>
            </a:r>
            <a:endParaRPr lang="en-US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2-09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270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 </a:t>
            </a:r>
            <a:endParaRPr lang="en-US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2-09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0670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 </a:t>
            </a:r>
            <a:endParaRPr lang="en-US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2-09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57528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558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 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E30034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2-09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165D906-55BD-49C5-997D-27A40DB53D1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69511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558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 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E30034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2-09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165D906-55BD-49C5-997D-27A40DB53D1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71736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558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 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E30034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2-09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165D906-55BD-49C5-997D-27A40DB53D1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43132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We have different applications of </a:t>
            </a:r>
            <a:r>
              <a:rPr lang="en-IN" dirty="0" err="1"/>
              <a:t>nlp</a:t>
            </a:r>
            <a:r>
              <a:rPr lang="en-IN" dirty="0"/>
              <a:t> but for each task we have to build a different model. Now what if I say we can have one model which can do all this .</a:t>
            </a:r>
            <a:br>
              <a:rPr lang="en-IN" dirty="0"/>
            </a:br>
            <a:r>
              <a:rPr lang="en-IN" dirty="0"/>
              <a:t>Here comes </a:t>
            </a:r>
            <a:r>
              <a:rPr lang="en-IN" dirty="0" err="1"/>
              <a:t>llms</a:t>
            </a:r>
            <a:r>
              <a:rPr lang="en-IN" dirty="0"/>
              <a:t> </a:t>
            </a:r>
            <a:r>
              <a:rPr lang="en-IN" dirty="0" err="1"/>
              <a:t>ans</a:t>
            </a:r>
            <a:r>
              <a:rPr lang="en-IN" dirty="0"/>
              <a:t> gen ai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5157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As the name suggest generative means the capability to generate it’s a ai </a:t>
            </a:r>
            <a:r>
              <a:rPr lang="en-IN" dirty="0" err="1"/>
              <a:t>molde</a:t>
            </a:r>
            <a:r>
              <a:rPr lang="en-IN" dirty="0"/>
              <a:t> that can generate test images  and many more based on the data its been trained on for </a:t>
            </a:r>
            <a:r>
              <a:rPr lang="en-IN" dirty="0" err="1"/>
              <a:t>eg.</a:t>
            </a:r>
            <a:endParaRPr lang="en-IN" dirty="0"/>
          </a:p>
          <a:p>
            <a:endParaRPr lang="en-IN" dirty="0"/>
          </a:p>
          <a:p>
            <a:r>
              <a:rPr lang="en-IN" dirty="0"/>
              <a:t>Lets compare tradition ai and generative ai to see how it benefits u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74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6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0 Jan 2026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6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0 Jan 2026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6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0 Jan 2026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6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0 Jan 2026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6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0 Jan 2026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6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0 Jan 2026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6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0 Jan 2026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6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0 Jan 2026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6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0 Jan 2026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6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0 Jan 2026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6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0 Jan 2026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5" Type="http://schemas.openxmlformats.org/officeDocument/2006/relationships/image" Target="../media/image6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65.xml"/><Relationship Id="rId13" Type="http://schemas.openxmlformats.org/officeDocument/2006/relationships/tags" Target="../tags/tag270.xml"/><Relationship Id="rId3" Type="http://schemas.openxmlformats.org/officeDocument/2006/relationships/tags" Target="../tags/tag260.xml"/><Relationship Id="rId7" Type="http://schemas.openxmlformats.org/officeDocument/2006/relationships/tags" Target="../tags/tag264.xml"/><Relationship Id="rId12" Type="http://schemas.openxmlformats.org/officeDocument/2006/relationships/tags" Target="../tags/tag269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tags" Target="../tags/tag263.xml"/><Relationship Id="rId11" Type="http://schemas.openxmlformats.org/officeDocument/2006/relationships/tags" Target="../tags/tag268.xml"/><Relationship Id="rId5" Type="http://schemas.openxmlformats.org/officeDocument/2006/relationships/tags" Target="../tags/tag262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267.xml"/><Relationship Id="rId4" Type="http://schemas.openxmlformats.org/officeDocument/2006/relationships/tags" Target="../tags/tag261.xml"/><Relationship Id="rId9" Type="http://schemas.openxmlformats.org/officeDocument/2006/relationships/tags" Target="../tags/tag266.xml"/><Relationship Id="rId14" Type="http://schemas.openxmlformats.org/officeDocument/2006/relationships/tags" Target="../tags/tag27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tags" Target="../tags/tag284.xml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281.xml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tags" Target="../tags/tag28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4.png"/><Relationship Id="rId7" Type="http://schemas.openxmlformats.org/officeDocument/2006/relationships/image" Target="../media/image27.png"/><Relationship Id="rId12" Type="http://schemas.openxmlformats.org/officeDocument/2006/relationships/hyperlink" Target="https://www.google.com/imgres?imgurl=https%3A%2F%2Fmiro.medium.com%2Fv2%2Fresize%3Afit%3A720%2F1*niHK99fJwosbkDB-ZMGR6w.png&amp;tbnid=4kvlXu7785AafM&amp;vet=1&amp;imgrefurl=https%3A%2F%2Flevelup.gitconnected.com%2Fgenerative-ai-learning-roadmap-from-absolute-beginner-to-practioner-part-1-f878ad9231c0&amp;docid=WFcAFfjB72hP6M&amp;w=360&amp;h=336&amp;gl=IN&amp;source=sh%2Fx%2Fim%2Fm1%2F3&amp;kgs=afe7aaaaf9393990&amp;shem=trie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png"/><Relationship Id="rId11" Type="http://schemas.openxmlformats.org/officeDocument/2006/relationships/hyperlink" Target="https://www.google.com/imgres?imgurl=https://geartechnologyindia.com/wp-content/uploads/2023/09/Gears-Header.jpg&amp;tbnid=UpycT07r73xvRM&amp;vet=1&amp;imgrefurl=https://geartechnologyindia.com/guiding-principles-for-defining-gear-hobbing-processes-in-new-part-development/&amp;docid=LiVIt3plm0WHsM&amp;w=1280&amp;h=850&amp;gl=IN&amp;source=sh/x/im/m1/3&amp;kgs=7cb6d00fdfd502a9&amp;shem=trie" TargetMode="External"/><Relationship Id="rId5" Type="http://schemas.openxmlformats.org/officeDocument/2006/relationships/image" Target="../media/image25.jpeg"/><Relationship Id="rId10" Type="http://schemas.openxmlformats.org/officeDocument/2006/relationships/image" Target="../media/image30.png"/><Relationship Id="rId4" Type="http://schemas.microsoft.com/office/2007/relationships/hdphoto" Target="../media/hdphoto1.wdp"/><Relationship Id="rId9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17/06/relationships/model3d" Target="../media/model3d1.glb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2.png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4.png"/><Relationship Id="rId7" Type="http://schemas.openxmlformats.org/officeDocument/2006/relationships/image" Target="../media/image27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png"/><Relationship Id="rId11" Type="http://schemas.openxmlformats.org/officeDocument/2006/relationships/hyperlink" Target="https://www.google.com/imgres?imgurl=https%3A%2F%2Fmiro.medium.com%2Fv2%2Fresize%3Afit%3A720%2F1*niHK99fJwosbkDB-ZMGR6w.png&amp;tbnid=4kvlXu7785AafM&amp;vet=1&amp;imgrefurl=https%3A%2F%2Flevelup.gitconnected.com%2Fgenerative-ai-learning-roadmap-from-absolute-beginner-to-practioner-part-1-f878ad9231c0&amp;docid=WFcAFfjB72hP6M&amp;w=360&amp;h=336&amp;gl=IN&amp;source=sh%2Fx%2Fim%2Fm1%2F3&amp;kgs=afe7aaaaf9393990&amp;shem=trie" TargetMode="External"/><Relationship Id="rId5" Type="http://schemas.openxmlformats.org/officeDocument/2006/relationships/image" Target="../media/image25.jpeg"/><Relationship Id="rId10" Type="http://schemas.openxmlformats.org/officeDocument/2006/relationships/hyperlink" Target="https://www.google.com/imgres?imgurl=https://geartechnologyindia.com/wp-content/uploads/2023/09/Gears-Header.jpg&amp;tbnid=UpycT07r73xvRM&amp;vet=1&amp;imgrefurl=https://geartechnologyindia.com/guiding-principles-for-defining-gear-hobbing-processes-in-new-part-development/&amp;docid=LiVIt3plm0WHsM&amp;w=1280&amp;h=850&amp;gl=IN&amp;source=sh/x/im/m1/3&amp;kgs=7cb6d00fdfd502a9&amp;shem=trie" TargetMode="External"/><Relationship Id="rId4" Type="http://schemas.microsoft.com/office/2007/relationships/hdphoto" Target="../media/hdphoto1.wdp"/><Relationship Id="rId9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lyticsvidhya.com/blog/2016/08/evolution-core-concepts-deep-learning-neural-networks/" TargetMode="External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google.com/imgres?imgurl=https%3A%2F%2Fimage.slidesharecdn.com%2F7ux8mixr6t8mqdeioi6q-signature-f83ecb75d38b009ea1da6be6419ae178e2533a8a60e350d3aa9a7e245caed981-poli-161218031345%2F85%2Femerging-trend-robotics-using-neural-network-8-320.jpg%3Fcb%3D1667450777&amp;tbnid=FL9867YF_HAiIM&amp;vet=1&amp;imgrefurl=https%3A%2F%2Fwww.slideshare.net%2FDevaJohn%2Femerging-trend-robotics-using-neural-network&amp;docid=HiFSYLtUF4DglM&amp;w=320&amp;h=240&amp;gl=IN&amp;source=sh%2Fx%2Fim%2Fm1%2F3&amp;kgs=8d7722b334824629&amp;shem=trie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searchgate.net/figure/Deep-Neural-Network-architecture_fig1_330120030" TargetMode="External"/><Relationship Id="rId2" Type="http://schemas.openxmlformats.org/officeDocument/2006/relationships/image" Target="../media/image35.ppm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google.com/imgres?imgurl=https%3A%2F%2Fmedia.springernature.com%2Flw685%2Fspringer-static%2Fimage%2Fchp%253A10.1007%252F978-3-031-43140-1_16%2FMediaObjects%2F554125_1_En_16_Fig2_HTML.png&amp;tbnid=UaCuz45qsDvBPM&amp;vet=1&amp;imgrefurl=https%3A%2F%2Flink.springer.com%2Fchapter%2F10.1007%2F978-3-031-43140-1_16&amp;docid=-w1ZQfqxB8ZfOM&amp;w=685&amp;h=509&amp;gl=IN&amp;source=sh%2Fx%2Fim%2Fm1%2F3&amp;kgs=bea13ff74adaf2c7&amp;shem=trie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clipart.org/detail/130963/gs_text" TargetMode="External"/><Relationship Id="rId13" Type="http://schemas.openxmlformats.org/officeDocument/2006/relationships/hyperlink" Target="https://www.google.com/imgres?imgurl=https%3A%2F%2Fmiro.medium.com%2Fv2%2Fresize%3Afit%3A720%2F1*niHK99fJwosbkDB-ZMGR6w.png&amp;tbnid=4kvlXu7785AafM&amp;vet=1&amp;imgrefurl=https%3A%2F%2Flevelup.gitconnected.com%2Fgenerative-ai-learning-roadmap-from-absolute-beginner-to-practioner-part-1-f878ad9231c0&amp;docid=WFcAFfjB72hP6M&amp;w=360&amp;h=336&amp;gl=IN&amp;source=sh%2Fx%2Fim%2Fm1%2F3&amp;kgs=afe7aaaaf9393990&amp;shem=trie" TargetMode="External"/><Relationship Id="rId3" Type="http://schemas.openxmlformats.org/officeDocument/2006/relationships/image" Target="../media/image24.png"/><Relationship Id="rId7" Type="http://schemas.openxmlformats.org/officeDocument/2006/relationships/image" Target="../media/image38.png"/><Relationship Id="rId12" Type="http://schemas.openxmlformats.org/officeDocument/2006/relationships/hyperlink" Target="https://www.google.com/imgres?imgurl=https://geartechnologyindia.com/wp-content/uploads/2023/09/Gears-Header.jpg&amp;tbnid=UpycT07r73xvRM&amp;vet=1&amp;imgrefurl=https://geartechnologyindia.com/guiding-principles-for-defining-gear-hobbing-processes-in-new-part-development/&amp;docid=LiVIt3plm0WHsM&amp;w=1280&amp;h=850&amp;gl=IN&amp;source=sh/x/im/m1/3&amp;kgs=7cb6d00fdfd502a9&amp;shem=trie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png"/><Relationship Id="rId11" Type="http://schemas.openxmlformats.org/officeDocument/2006/relationships/image" Target="../media/image29.png"/><Relationship Id="rId5" Type="http://schemas.openxmlformats.org/officeDocument/2006/relationships/image" Target="../media/image25.jpeg"/><Relationship Id="rId10" Type="http://schemas.openxmlformats.org/officeDocument/2006/relationships/image" Target="../media/image28.png"/><Relationship Id="rId4" Type="http://schemas.microsoft.com/office/2007/relationships/hdphoto" Target="../media/hdphoto1.wdp"/><Relationship Id="rId9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om/imgres?imgurl=https%3A%2F%2Fd3pa45a5f8vwb1.cloudfront.net%2Fwp-content%2Fuploads%2F2019%2F10%2Ftranslation-ready-themes-featured-1024x512.png&amp;tbnid=AZMthGpP-Tu_YM&amp;vet=1&amp;imgrefurl=https%3A%2F%2Fartbees.net%2Fauthor%2Ftatyana-1c5091d5%2F&amp;docid=gNNRgd8VP1sxHM&amp;w=1024&amp;h=512&amp;gl=IN&amp;source=sh%2Fx%2Fim%2Fm1%2F3&amp;kgs=400dc14e4fddb10f&amp;shem=trie" TargetMode="External"/><Relationship Id="rId3" Type="http://schemas.microsoft.com/office/2007/relationships/hdphoto" Target="../media/hdphoto2.wdp"/><Relationship Id="rId7" Type="http://schemas.openxmlformats.org/officeDocument/2006/relationships/hyperlink" Target="https://www.google.com/imgres?imgurl=https%3A%2F%2Fcdn.analyticsvidhya.com%2Fwp-content%2Fuploads%2F2020%2F05%2FWeb-Page-Classification-scaled.jpg&amp;tbnid=bkrE_krNcoOS-M&amp;vet=1&amp;imgrefurl=https%3A%2F%2Fwww.analyticsvidhya.com%2Fblog%2Ftag%2Fnaive-bayes%2F&amp;docid=YwkIPTtyZ6k37M&amp;w=2560&amp;h=1440&amp;gl=IN&amp;source=sh%2Fx%2Fim%2Fm1%2F3&amp;kgs=326d2c5f2dc80159&amp;shem=trie" TargetMode="Externa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1.png"/><Relationship Id="rId5" Type="http://schemas.microsoft.com/office/2007/relationships/hdphoto" Target="../media/hdphoto3.wdp"/><Relationship Id="rId4" Type="http://schemas.openxmlformats.org/officeDocument/2006/relationships/image" Target="../media/image40.png"/><Relationship Id="rId9" Type="http://schemas.openxmlformats.org/officeDocument/2006/relationships/hyperlink" Target="https://www.google.com/imgres?imgurl=https%3A%2F%2Fstatic.vecteezy.com%2Fsystem%2Fresources%2Fthumbnails%2F025%2F030%2F073%2Fsmall_2x%2Flarge-language-model-advanced-text-generation-ai-editable-stroke-icon-icon-vector.jpg&amp;tbnid=Fnl-4Hp0EiYAyM&amp;vet=1&amp;imgrefurl=https%3A%2F%2Fwww.vecteezy.com%2Fvector-art%2F25030073-large-language-model-advanced-text-generation-ai-vector-editable-stroke-icon-vector-icon&amp;docid=do234DGU0nQijM&amp;w=400&amp;h=400&amp;gl=IN&amp;source=sh%2Fx%2Fim%2Fm1%2F3&amp;kgs=aa13d6ffa87f4fea&amp;shem=trie" TargetMode="Externa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93.xml"/><Relationship Id="rId13" Type="http://schemas.openxmlformats.org/officeDocument/2006/relationships/tags" Target="../tags/tag298.xml"/><Relationship Id="rId3" Type="http://schemas.openxmlformats.org/officeDocument/2006/relationships/tags" Target="../tags/tag288.xml"/><Relationship Id="rId7" Type="http://schemas.openxmlformats.org/officeDocument/2006/relationships/tags" Target="../tags/tag292.xml"/><Relationship Id="rId12" Type="http://schemas.openxmlformats.org/officeDocument/2006/relationships/tags" Target="../tags/tag297.xml"/><Relationship Id="rId2" Type="http://schemas.openxmlformats.org/officeDocument/2006/relationships/tags" Target="../tags/tag287.xml"/><Relationship Id="rId16" Type="http://schemas.openxmlformats.org/officeDocument/2006/relationships/notesSlide" Target="../notesSlides/notesSlide8.xml"/><Relationship Id="rId1" Type="http://schemas.openxmlformats.org/officeDocument/2006/relationships/tags" Target="../tags/tag286.xml"/><Relationship Id="rId6" Type="http://schemas.openxmlformats.org/officeDocument/2006/relationships/tags" Target="../tags/tag291.xml"/><Relationship Id="rId11" Type="http://schemas.openxmlformats.org/officeDocument/2006/relationships/tags" Target="../tags/tag296.xml"/><Relationship Id="rId5" Type="http://schemas.openxmlformats.org/officeDocument/2006/relationships/tags" Target="../tags/tag290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295.xml"/><Relationship Id="rId4" Type="http://schemas.openxmlformats.org/officeDocument/2006/relationships/tags" Target="../tags/tag289.xml"/><Relationship Id="rId9" Type="http://schemas.openxmlformats.org/officeDocument/2006/relationships/tags" Target="../tags/tag294.xml"/><Relationship Id="rId14" Type="http://schemas.openxmlformats.org/officeDocument/2006/relationships/tags" Target="../tags/tag29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0.xml"/><Relationship Id="rId6" Type="http://schemas.openxmlformats.org/officeDocument/2006/relationships/image" Target="../media/image44.png"/><Relationship Id="rId5" Type="http://schemas.openxmlformats.org/officeDocument/2006/relationships/image" Target="../media/image43.sv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https://codeandhack.com/openai-codex-can-now-write-code-from-natural-language/" TargetMode="External"/><Relationship Id="rId13" Type="http://schemas.openxmlformats.org/officeDocument/2006/relationships/image" Target="../media/image53.jpg"/><Relationship Id="rId18" Type="http://schemas.openxmlformats.org/officeDocument/2006/relationships/image" Target="../media/image56.png"/><Relationship Id="rId3" Type="http://schemas.openxmlformats.org/officeDocument/2006/relationships/image" Target="../media/image48.jpeg"/><Relationship Id="rId7" Type="http://schemas.openxmlformats.org/officeDocument/2006/relationships/image" Target="../media/image50.jpg"/><Relationship Id="rId12" Type="http://schemas.openxmlformats.org/officeDocument/2006/relationships/hyperlink" Target="https://www.youtube.com/watch?v=RPuWi7yEbtc" TargetMode="External"/><Relationship Id="rId17" Type="http://schemas.openxmlformats.org/officeDocument/2006/relationships/image" Target="../media/image55.jpeg"/><Relationship Id="rId2" Type="http://schemas.openxmlformats.org/officeDocument/2006/relationships/notesSlide" Target="../notesSlides/notesSlide10.xml"/><Relationship Id="rId16" Type="http://schemas.openxmlformats.org/officeDocument/2006/relationships/hyperlink" Target="https://45.153.231.124/midjourney-ai-text-to-image-generator-youtube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techenafrique.com/2023/03/llama-meta-lance-son-chatgpt/" TargetMode="External"/><Relationship Id="rId11" Type="http://schemas.openxmlformats.org/officeDocument/2006/relationships/image" Target="../media/image52.jpg"/><Relationship Id="rId5" Type="http://schemas.openxmlformats.org/officeDocument/2006/relationships/image" Target="../media/image49.jpg"/><Relationship Id="rId15" Type="http://schemas.openxmlformats.org/officeDocument/2006/relationships/image" Target="../media/image54.png"/><Relationship Id="rId10" Type="http://schemas.openxmlformats.org/officeDocument/2006/relationships/hyperlink" Target="https://www.datanami.com/this-just-in/servicenow-and-hugging-face-release-starcoder-llm-for-code-generation/" TargetMode="External"/><Relationship Id="rId4" Type="http://schemas.openxmlformats.org/officeDocument/2006/relationships/hyperlink" Target="https://www.netzwelt.de/ist-down/213256-chatgpt-aktuell-leidet-ai-einigen-problemen.html" TargetMode="External"/><Relationship Id="rId9" Type="http://schemas.openxmlformats.org/officeDocument/2006/relationships/image" Target="../media/image51.jpg"/><Relationship Id="rId14" Type="http://schemas.openxmlformats.org/officeDocument/2006/relationships/hyperlink" Target="https://www.thinkcrema.com/comprehensive-guide-to-dall-e-by-openai-creating-images-from-text/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13" Type="http://schemas.openxmlformats.org/officeDocument/2006/relationships/image" Target="../media/image59.svg"/><Relationship Id="rId18" Type="http://schemas.openxmlformats.org/officeDocument/2006/relationships/image" Target="../media/image64.png"/><Relationship Id="rId3" Type="http://schemas.openxmlformats.org/officeDocument/2006/relationships/tags" Target="../tags/tag303.xml"/><Relationship Id="rId7" Type="http://schemas.openxmlformats.org/officeDocument/2006/relationships/diagramQuickStyle" Target="../diagrams/quickStyle2.xml"/><Relationship Id="rId12" Type="http://schemas.openxmlformats.org/officeDocument/2006/relationships/image" Target="../media/image58.png"/><Relationship Id="rId17" Type="http://schemas.openxmlformats.org/officeDocument/2006/relationships/image" Target="../media/image63.svg"/><Relationship Id="rId2" Type="http://schemas.openxmlformats.org/officeDocument/2006/relationships/tags" Target="../tags/tag302.xml"/><Relationship Id="rId16" Type="http://schemas.openxmlformats.org/officeDocument/2006/relationships/image" Target="../media/image62.png"/><Relationship Id="rId1" Type="http://schemas.openxmlformats.org/officeDocument/2006/relationships/tags" Target="../tags/tag301.xml"/><Relationship Id="rId6" Type="http://schemas.openxmlformats.org/officeDocument/2006/relationships/diagramLayout" Target="../diagrams/layout2.xml"/><Relationship Id="rId11" Type="http://schemas.openxmlformats.org/officeDocument/2006/relationships/hyperlink" Target="https://clipground.com/computer-coding-clipart.html" TargetMode="External"/><Relationship Id="rId5" Type="http://schemas.openxmlformats.org/officeDocument/2006/relationships/diagramData" Target="../diagrams/data2.xml"/><Relationship Id="rId15" Type="http://schemas.openxmlformats.org/officeDocument/2006/relationships/image" Target="../media/image61.svg"/><Relationship Id="rId10" Type="http://schemas.openxmlformats.org/officeDocument/2006/relationships/image" Target="../media/image57.jpg"/><Relationship Id="rId4" Type="http://schemas.openxmlformats.org/officeDocument/2006/relationships/slideLayout" Target="../slideLayouts/slideLayout4.xml"/><Relationship Id="rId9" Type="http://schemas.microsoft.com/office/2007/relationships/diagramDrawing" Target="../diagrams/drawing2.xml"/><Relationship Id="rId14" Type="http://schemas.openxmlformats.org/officeDocument/2006/relationships/image" Target="../media/image6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hyperlink" Target="https://dev.to/farrruh/deploy-your-own-ai-chat-buddy-the-qwen-chat-model-deployment-with-huggingface-guide-26jn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11.xml"/><Relationship Id="rId13" Type="http://schemas.openxmlformats.org/officeDocument/2006/relationships/tags" Target="../tags/tag316.xml"/><Relationship Id="rId3" Type="http://schemas.openxmlformats.org/officeDocument/2006/relationships/tags" Target="../tags/tag306.xml"/><Relationship Id="rId7" Type="http://schemas.openxmlformats.org/officeDocument/2006/relationships/tags" Target="../tags/tag310.xml"/><Relationship Id="rId12" Type="http://schemas.openxmlformats.org/officeDocument/2006/relationships/tags" Target="../tags/tag315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11" Type="http://schemas.openxmlformats.org/officeDocument/2006/relationships/tags" Target="../tags/tag314.xml"/><Relationship Id="rId5" Type="http://schemas.openxmlformats.org/officeDocument/2006/relationships/tags" Target="../tags/tag308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313.xml"/><Relationship Id="rId4" Type="http://schemas.openxmlformats.org/officeDocument/2006/relationships/tags" Target="../tags/tag307.xml"/><Relationship Id="rId9" Type="http://schemas.openxmlformats.org/officeDocument/2006/relationships/tags" Target="../tags/tag312.xml"/><Relationship Id="rId14" Type="http://schemas.openxmlformats.org/officeDocument/2006/relationships/tags" Target="../tags/tag31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6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1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3.svg"/><Relationship Id="rId7" Type="http://schemas.openxmlformats.org/officeDocument/2006/relationships/image" Target="../media/image77.svg"/><Relationship Id="rId12" Type="http://schemas.openxmlformats.org/officeDocument/2006/relationships/image" Target="../media/image82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6.png"/><Relationship Id="rId11" Type="http://schemas.openxmlformats.org/officeDocument/2006/relationships/image" Target="../media/image81.svg"/><Relationship Id="rId5" Type="http://schemas.openxmlformats.org/officeDocument/2006/relationships/image" Target="../media/image75.svg"/><Relationship Id="rId10" Type="http://schemas.openxmlformats.org/officeDocument/2006/relationships/image" Target="../media/image80.png"/><Relationship Id="rId4" Type="http://schemas.openxmlformats.org/officeDocument/2006/relationships/image" Target="../media/image74.png"/><Relationship Id="rId9" Type="http://schemas.openxmlformats.org/officeDocument/2006/relationships/image" Target="../media/image79.sv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84.svg"/><Relationship Id="rId7" Type="http://schemas.openxmlformats.org/officeDocument/2006/relationships/image" Target="../media/image88.sv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7.png"/><Relationship Id="rId11" Type="http://schemas.openxmlformats.org/officeDocument/2006/relationships/image" Target="../media/image92.svg"/><Relationship Id="rId5" Type="http://schemas.openxmlformats.org/officeDocument/2006/relationships/image" Target="../media/image86.svg"/><Relationship Id="rId10" Type="http://schemas.openxmlformats.org/officeDocument/2006/relationships/image" Target="../media/image91.png"/><Relationship Id="rId4" Type="http://schemas.openxmlformats.org/officeDocument/2006/relationships/image" Target="../media/image85.png"/><Relationship Id="rId9" Type="http://schemas.openxmlformats.org/officeDocument/2006/relationships/image" Target="../media/image90.sv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101.png"/><Relationship Id="rId18" Type="http://schemas.openxmlformats.org/officeDocument/2006/relationships/image" Target="../media/image103.png"/><Relationship Id="rId3" Type="http://schemas.microsoft.com/office/2017/06/relationships/model3d" Target="../media/model3d2.glb"/><Relationship Id="rId7" Type="http://schemas.openxmlformats.org/officeDocument/2006/relationships/image" Target="../media/image96.svg"/><Relationship Id="rId12" Type="http://schemas.microsoft.com/office/2017/06/relationships/model3d" Target="../media/model3d3.glb"/><Relationship Id="rId17" Type="http://schemas.openxmlformats.org/officeDocument/2006/relationships/image" Target="../media/image102.png"/><Relationship Id="rId2" Type="http://schemas.openxmlformats.org/officeDocument/2006/relationships/image" Target="../media/image93.png"/><Relationship Id="rId16" Type="http://schemas.openxmlformats.org/officeDocument/2006/relationships/image" Target="../media/image10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5.png"/><Relationship Id="rId11" Type="http://schemas.openxmlformats.org/officeDocument/2006/relationships/image" Target="../media/image100.svg"/><Relationship Id="rId5" Type="http://schemas.openxmlformats.org/officeDocument/2006/relationships/image" Target="../media/image94.png"/><Relationship Id="rId15" Type="http://schemas.microsoft.com/office/2017/06/relationships/model3d" Target="../media/model3d4.glb"/><Relationship Id="rId10" Type="http://schemas.openxmlformats.org/officeDocument/2006/relationships/image" Target="../media/image99.png"/><Relationship Id="rId19" Type="http://schemas.openxmlformats.org/officeDocument/2006/relationships/image" Target="../media/image104.png"/><Relationship Id="rId4" Type="http://schemas.openxmlformats.org/officeDocument/2006/relationships/image" Target="../media/image94.png"/><Relationship Id="rId9" Type="http://schemas.openxmlformats.org/officeDocument/2006/relationships/image" Target="../media/image98.svg"/><Relationship Id="rId14" Type="http://schemas.openxmlformats.org/officeDocument/2006/relationships/image" Target="../media/image101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jpeg"/><Relationship Id="rId3" Type="http://schemas.openxmlformats.org/officeDocument/2006/relationships/image" Target="../media/image106.png"/><Relationship Id="rId7" Type="http://schemas.openxmlformats.org/officeDocument/2006/relationships/image" Target="../media/image110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13" Type="http://schemas.openxmlformats.org/officeDocument/2006/relationships/tags" Target="../tags/tag330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12" Type="http://schemas.openxmlformats.org/officeDocument/2006/relationships/tags" Target="../tags/tag329.xml"/><Relationship Id="rId2" Type="http://schemas.openxmlformats.org/officeDocument/2006/relationships/tags" Target="../tags/tag319.xml"/><Relationship Id="rId16" Type="http://schemas.openxmlformats.org/officeDocument/2006/relationships/notesSlide" Target="../notesSlides/notesSlide14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11" Type="http://schemas.openxmlformats.org/officeDocument/2006/relationships/tags" Target="../tags/tag328.xml"/><Relationship Id="rId5" Type="http://schemas.openxmlformats.org/officeDocument/2006/relationships/tags" Target="../tags/tag322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327.xml"/><Relationship Id="rId4" Type="http://schemas.openxmlformats.org/officeDocument/2006/relationships/tags" Target="../tags/tag321.xml"/><Relationship Id="rId9" Type="http://schemas.openxmlformats.org/officeDocument/2006/relationships/tags" Target="../tags/tag326.xml"/><Relationship Id="rId14" Type="http://schemas.openxmlformats.org/officeDocument/2006/relationships/tags" Target="../tags/tag33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5" Type="http://schemas.openxmlformats.org/officeDocument/2006/relationships/tags" Target="../tags/tag220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225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hyperlink" Target="https://freebiehive.com/chat-gpt-logo-png/" TargetMode="External"/><Relationship Id="rId13" Type="http://schemas.openxmlformats.org/officeDocument/2006/relationships/hyperlink" Target="https://www.analyticsvidhya.com/blog/2023/12/generative-ai-vs-traditional-ai/" TargetMode="External"/><Relationship Id="rId3" Type="http://schemas.openxmlformats.org/officeDocument/2006/relationships/hyperlink" Target="https://www.flaticon.com/free-icon/deep-learning_2103832" TargetMode="External"/><Relationship Id="rId7" Type="http://schemas.openxmlformats.org/officeDocument/2006/relationships/hyperlink" Target="https://en.wikipedia.org/wiki/Hallucination_%28artificial_intelligence%29" TargetMode="External"/><Relationship Id="rId12" Type="http://schemas.openxmlformats.org/officeDocument/2006/relationships/hyperlink" Target="https://www.freepik.com/icon/voice-command_1464780" TargetMode="External"/><Relationship Id="rId2" Type="http://schemas.openxmlformats.org/officeDocument/2006/relationships/hyperlink" Target="https://medium.com/@prajwalkankate/what-is-genai-7e10f008e749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freepik.com/icon/limitation_8916262" TargetMode="External"/><Relationship Id="rId11" Type="http://schemas.openxmlformats.org/officeDocument/2006/relationships/hyperlink" Target="https://datasciencedojo.com/blog/embeddings-and-llm/" TargetMode="External"/><Relationship Id="rId5" Type="http://schemas.openxmlformats.org/officeDocument/2006/relationships/hyperlink" Target="https://ur.javamem.com/pictures/coding-clipart" TargetMode="External"/><Relationship Id="rId15" Type="http://schemas.openxmlformats.org/officeDocument/2006/relationships/hyperlink" Target="https://static.vecteezy.com/system/resources/previews/053/120/260/non_2x/a-flat-illustration-of-robot-maid-holding-broom-and-bucket-vector.jpg" TargetMode="External"/><Relationship Id="rId10" Type="http://schemas.openxmlformats.org/officeDocument/2006/relationships/hyperlink" Target="https://www.pycodemates.com/2023/08/top-5-generative-ai-tools-and-uses.html#google_vignette\" TargetMode="External"/><Relationship Id="rId4" Type="http://schemas.openxmlformats.org/officeDocument/2006/relationships/hyperlink" Target="https://www.flaticon.com/free-icon/video-production_2471471" TargetMode="External"/><Relationship Id="rId9" Type="http://schemas.openxmlformats.org/officeDocument/2006/relationships/hyperlink" Target="https://mlmlovevs.live/product_details/4510993.html" TargetMode="External"/><Relationship Id="rId14" Type="http://schemas.openxmlformats.org/officeDocument/2006/relationships/hyperlink" Target="https://d3i71xaburhd42.cloudfront.net/6825ba09383bc758f9a2feaebabe35a6cd4adc4c/1-Figure1-1.png" TargetMode="Externa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mailto:SubidKumar.Parida-EE@infineon.com" TargetMode="External"/><Relationship Id="rId7" Type="http://schemas.openxmlformats.org/officeDocument/2006/relationships/image" Target="../media/image114.jpeg"/><Relationship Id="rId2" Type="http://schemas.openxmlformats.org/officeDocument/2006/relationships/hyperlink" Target="mailto:apavan.kumar-ee@Infineon.com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3.jpeg"/><Relationship Id="rId5" Type="http://schemas.openxmlformats.org/officeDocument/2006/relationships/image" Target="../media/image112.jpeg"/><Relationship Id="rId4" Type="http://schemas.openxmlformats.org/officeDocument/2006/relationships/hyperlink" Target="mailto:Jiwank.Shukla@infineon.com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13" Type="http://schemas.openxmlformats.org/officeDocument/2006/relationships/tags" Target="../tags/tag242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12" Type="http://schemas.openxmlformats.org/officeDocument/2006/relationships/tags" Target="../tags/tag241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tags" Target="../tags/tag240.xml"/><Relationship Id="rId5" Type="http://schemas.openxmlformats.org/officeDocument/2006/relationships/tags" Target="../tags/tag234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239.xml"/><Relationship Id="rId4" Type="http://schemas.openxmlformats.org/officeDocument/2006/relationships/tags" Target="../tags/tag233.xml"/><Relationship Id="rId9" Type="http://schemas.openxmlformats.org/officeDocument/2006/relationships/tags" Target="../tags/tag238.xml"/><Relationship Id="rId14" Type="http://schemas.openxmlformats.org/officeDocument/2006/relationships/tags" Target="../tags/tag24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Jiwank.Shukla@infineon.com" TargetMode="External"/><Relationship Id="rId2" Type="http://schemas.openxmlformats.org/officeDocument/2006/relationships/hyperlink" Target="mailto:Harshal.Kumeriya@infineon.com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13" Type="http://schemas.openxmlformats.org/officeDocument/2006/relationships/tags" Target="../tags/tag256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tags" Target="../tags/tag255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5" Type="http://schemas.openxmlformats.org/officeDocument/2006/relationships/tags" Target="../tags/tag248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253.xml"/><Relationship Id="rId4" Type="http://schemas.openxmlformats.org/officeDocument/2006/relationships/tags" Target="../tags/tag247.xml"/><Relationship Id="rId9" Type="http://schemas.openxmlformats.org/officeDocument/2006/relationships/tags" Target="../tags/tag252.xml"/><Relationship Id="rId14" Type="http://schemas.openxmlformats.org/officeDocument/2006/relationships/tags" Target="../tags/tag25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ity">
            <a:extLst>
              <a:ext uri="{FF2B5EF4-FFF2-40B4-BE49-F238E27FC236}">
                <a16:creationId xmlns:a16="http://schemas.microsoft.com/office/drawing/2014/main" id="{62FE5336-B49F-4162-91A9-5E3F70D3BEEC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/>
        </p:blipFill>
        <p:spPr>
          <a:xfrm>
            <a:off x="0" y="0"/>
            <a:ext cx="12192000" cy="6858000"/>
          </a:xfrm>
        </p:spPr>
      </p:pic>
      <p:sp>
        <p:nvSpPr>
          <p:cNvPr id="9" name="Rectangle 2">
            <a:extLst>
              <a:ext uri="{FF2B5EF4-FFF2-40B4-BE49-F238E27FC236}">
                <a16:creationId xmlns:a16="http://schemas.microsoft.com/office/drawing/2014/main" id="{9AEFEAED-EE99-45F8-A2D5-C8B2B519F097}"/>
              </a:ext>
            </a:extLst>
          </p:cNvPr>
          <p:cNvSpPr/>
          <p:nvPr/>
        </p:nvSpPr>
        <p:spPr bwMode="auto">
          <a:xfrm>
            <a:off x="2495600" y="2204864"/>
            <a:ext cx="3208016" cy="2279383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3">
              <a:defRPr/>
            </a:pPr>
            <a:endParaRPr lang="en-US" sz="2400" kern="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B965F42F-6499-4B50-841D-4FFA94C42CC1}"/>
              </a:ext>
            </a:extLst>
          </p:cNvPr>
          <p:cNvSpPr/>
          <p:nvPr/>
        </p:nvSpPr>
        <p:spPr bwMode="auto">
          <a:xfrm>
            <a:off x="6064879" y="2204864"/>
            <a:ext cx="3208016" cy="2279383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3">
              <a:defRPr/>
            </a:pPr>
            <a:endParaRPr lang="en-US" sz="2400" kern="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B593D0B7-5E98-4EC9-BF0D-E7C5F30AF8D6}"/>
              </a:ext>
            </a:extLst>
          </p:cNvPr>
          <p:cNvSpPr txBox="1">
            <a:spLocks/>
          </p:cNvSpPr>
          <p:nvPr/>
        </p:nvSpPr>
        <p:spPr>
          <a:xfrm>
            <a:off x="1176571" y="260648"/>
            <a:ext cx="9613068" cy="720000"/>
          </a:xfrm>
          <a:prstGeom prst="rect">
            <a:avLst/>
          </a:prstGeom>
        </p:spPr>
        <p:txBody>
          <a:bodyPr/>
          <a:lstStyle>
            <a:lvl1pPr algn="l" defTabSz="5760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sz="2400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600" b="1" kern="0" dirty="0"/>
              <a:t>Overall Agenda of Progra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B0C23C-0F6F-4399-8561-E891F52B0D50}"/>
              </a:ext>
            </a:extLst>
          </p:cNvPr>
          <p:cNvSpPr txBox="1"/>
          <p:nvPr/>
        </p:nvSpPr>
        <p:spPr bwMode="auto">
          <a:xfrm>
            <a:off x="2555500" y="2468891"/>
            <a:ext cx="3088216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800" kern="0" dirty="0">
                <a:latin typeface="+mj-lt"/>
                <a:ea typeface="Verdana" pitchFamily="34" charset="0"/>
                <a:cs typeface="Arial" panose="020B0604020202020204" pitchFamily="34" charset="0"/>
              </a:rPr>
              <a:t>Day 1: 9</a:t>
            </a:r>
            <a:r>
              <a:rPr lang="en-US" sz="1800" kern="0" baseline="30000" dirty="0">
                <a:latin typeface="+mj-lt"/>
                <a:ea typeface="Verdana" pitchFamily="34" charset="0"/>
                <a:cs typeface="Arial" panose="020B0604020202020204" pitchFamily="34" charset="0"/>
              </a:rPr>
              <a:t>th</a:t>
            </a:r>
            <a:r>
              <a:rPr lang="en-US" sz="1800" kern="0" dirty="0">
                <a:latin typeface="+mj-lt"/>
                <a:ea typeface="Verdana" pitchFamily="34" charset="0"/>
                <a:cs typeface="Arial" panose="020B0604020202020204" pitchFamily="34" charset="0"/>
              </a:rPr>
              <a:t> February 2026</a:t>
            </a:r>
          </a:p>
          <a:p>
            <a:pPr marL="895335" lvl="1" indent="-285750" eaLnBrk="0" fontAlgn="auto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›"/>
            </a:pPr>
            <a:r>
              <a:rPr lang="en-US" sz="1800" kern="0" dirty="0">
                <a:latin typeface="+mj-lt"/>
                <a:ea typeface="Verdana" pitchFamily="34" charset="0"/>
                <a:cs typeface="Arial" panose="020B0604020202020204" pitchFamily="34" charset="0"/>
              </a:rPr>
              <a:t>Bootcamp day: preparation slides	</a:t>
            </a:r>
          </a:p>
          <a:p>
            <a:pPr marL="895335" lvl="1" indent="-285750" eaLnBrk="0" fontAlgn="auto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›"/>
            </a:pPr>
            <a:r>
              <a:rPr lang="en-US" sz="1800" kern="0" dirty="0">
                <a:latin typeface="+mj-lt"/>
                <a:ea typeface="Verdana" pitchFamily="34" charset="0"/>
                <a:cs typeface="Arial" panose="020B0604020202020204" pitchFamily="34" charset="0"/>
              </a:rPr>
              <a:t>Notebook Exercis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3F71C-F165-404C-B540-7C9987DADE7C}"/>
              </a:ext>
            </a:extLst>
          </p:cNvPr>
          <p:cNvSpPr txBox="1"/>
          <p:nvPr/>
        </p:nvSpPr>
        <p:spPr bwMode="auto">
          <a:xfrm>
            <a:off x="6127121" y="2447112"/>
            <a:ext cx="3088216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800" kern="0" dirty="0">
                <a:latin typeface="+mj-lt"/>
                <a:ea typeface="Verdana" pitchFamily="34" charset="0"/>
                <a:cs typeface="Arial" panose="020B0604020202020204" pitchFamily="34" charset="0"/>
              </a:rPr>
              <a:t>Day 2: 10</a:t>
            </a:r>
            <a:r>
              <a:rPr lang="en-US" sz="1800" kern="0" baseline="30000" dirty="0">
                <a:ea typeface="Verdana" pitchFamily="34" charset="0"/>
                <a:cs typeface="Arial" panose="020B0604020202020204" pitchFamily="34" charset="0"/>
              </a:rPr>
              <a:t>th</a:t>
            </a:r>
            <a:r>
              <a:rPr lang="en-US" sz="1800" kern="0" dirty="0">
                <a:ea typeface="Verdana" pitchFamily="34" charset="0"/>
                <a:cs typeface="Arial" panose="020B0604020202020204" pitchFamily="34" charset="0"/>
              </a:rPr>
              <a:t> February </a:t>
            </a:r>
            <a:r>
              <a:rPr lang="en-US" sz="1800" kern="0" dirty="0">
                <a:latin typeface="+mj-lt"/>
                <a:ea typeface="Verdana" pitchFamily="34" charset="0"/>
                <a:cs typeface="Arial" panose="020B0604020202020204" pitchFamily="34" charset="0"/>
              </a:rPr>
              <a:t>2026</a:t>
            </a:r>
          </a:p>
          <a:p>
            <a:pPr marL="895335" lvl="1" indent="-285750" eaLnBrk="0" fontAlgn="auto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›"/>
            </a:pPr>
            <a:r>
              <a:rPr lang="en-US" sz="1800" kern="0" dirty="0">
                <a:latin typeface="+mj-lt"/>
                <a:ea typeface="Verdana" pitchFamily="34" charset="0"/>
                <a:cs typeface="Arial" panose="020B0604020202020204" pitchFamily="34" charset="0"/>
              </a:rPr>
              <a:t>Hackathon Day: Problem statement introduction</a:t>
            </a:r>
          </a:p>
          <a:p>
            <a:pPr marL="895335" lvl="1" indent="-285750" eaLnBrk="0" fontAlgn="auto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›"/>
            </a:pPr>
            <a:r>
              <a:rPr lang="en-US" sz="1800" kern="0" dirty="0">
                <a:latin typeface="+mj-lt"/>
                <a:ea typeface="Verdana" pitchFamily="34" charset="0"/>
                <a:cs typeface="Arial" panose="020B0604020202020204" pitchFamily="34" charset="0"/>
              </a:rPr>
              <a:t>Live Competi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9314925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DBD4E-6BDA-4C54-9216-B37057FB5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Agenda</a:t>
            </a:r>
          </a:p>
        </p:txBody>
      </p:sp>
      <p:sp>
        <p:nvSpPr>
          <p:cNvPr id="27" name="MIO_AGENDA_ELEMENT_TITEL_4">
            <a:hlinkClick r:id="" action="ppaction://noaction"/>
            <a:extLst>
              <a:ext uri="{FF2B5EF4-FFF2-40B4-BE49-F238E27FC236}">
                <a16:creationId xmlns:a16="http://schemas.microsoft.com/office/drawing/2014/main" id="{5F7EE3AB-0A83-4648-A26A-22CC76D546A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1241679" y="3212655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The Magic of Words: Exploring NLP</a:t>
            </a:r>
          </a:p>
        </p:txBody>
      </p:sp>
      <p:sp>
        <p:nvSpPr>
          <p:cNvPr id="28" name="MIO_AGENDA_ELEMENT_TITEL_3">
            <a:hlinkClick r:id="" action="ppaction://noaction"/>
            <a:extLst>
              <a:ext uri="{FF2B5EF4-FFF2-40B4-BE49-F238E27FC236}">
                <a16:creationId xmlns:a16="http://schemas.microsoft.com/office/drawing/2014/main" id="{C5EDBFCD-C3A1-4E98-8496-82EECAE6FE2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241678" y="256655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b="1" dirty="0"/>
              <a:t>Understanding AI, ML, and DL</a:t>
            </a:r>
            <a:endParaRPr lang="en-US" sz="3200" b="1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9" name="MIO_AGENDA_ELEMENT_TITEL_1">
            <a:hlinkClick r:id="" action="ppaction://noaction"/>
            <a:extLst>
              <a:ext uri="{FF2B5EF4-FFF2-40B4-BE49-F238E27FC236}">
                <a16:creationId xmlns:a16="http://schemas.microsoft.com/office/drawing/2014/main" id="{AFCAEBBB-21F5-4E7A-B2FF-33FEC0318CC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1235074" y="126841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Introduction</a:t>
            </a:r>
          </a:p>
        </p:txBody>
      </p:sp>
      <p:sp>
        <p:nvSpPr>
          <p:cNvPr id="30" name="MIO_AGENDA_ELEMENT_TITEL_2">
            <a:hlinkClick r:id="" action="ppaction://noaction"/>
            <a:extLst>
              <a:ext uri="{FF2B5EF4-FFF2-40B4-BE49-F238E27FC236}">
                <a16:creationId xmlns:a16="http://schemas.microsoft.com/office/drawing/2014/main" id="{0517FAAD-E521-41E5-A920-2B7BA63A921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235075" y="191649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cs typeface="Calibri" panose="020F0502020204030204" pitchFamily="34" charset="0"/>
              </a:rPr>
              <a:t>Our Diverse Expertise in AI at Infineon</a:t>
            </a:r>
          </a:p>
        </p:txBody>
      </p:sp>
      <p:sp>
        <p:nvSpPr>
          <p:cNvPr id="31" name="MIO_AGENDA_ELEMENT_ELEMENTNUMBER_3">
            <a:hlinkClick r:id="" action="ppaction://noaction"/>
            <a:extLst>
              <a:ext uri="{FF2B5EF4-FFF2-40B4-BE49-F238E27FC236}">
                <a16:creationId xmlns:a16="http://schemas.microsoft.com/office/drawing/2014/main" id="{416C2E09-3F65-4DE1-9E70-B438F5D5008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34433" y="2564574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2" name="MIO_AGENDA_ELEMENT_ELEMENTNUMBER_4">
            <a:hlinkClick r:id="" action="ppaction://noaction"/>
            <a:extLst>
              <a:ext uri="{FF2B5EF4-FFF2-40B4-BE49-F238E27FC236}">
                <a16:creationId xmlns:a16="http://schemas.microsoft.com/office/drawing/2014/main" id="{7F08F1CC-69CF-401B-A20B-FFE24BE3CE2E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34433" y="3212655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4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9D5F54F9-CF45-495E-95FF-58411168B182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334433" y="191649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5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B81BB8D1-C42D-4126-8291-252C758E66F3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335360" y="126841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6" name="MIO_AGENDA_ELEMENT_TITEL_5">
            <a:hlinkClick r:id="" action="ppaction://noaction"/>
            <a:extLst>
              <a:ext uri="{FF2B5EF4-FFF2-40B4-BE49-F238E27FC236}">
                <a16:creationId xmlns:a16="http://schemas.microsoft.com/office/drawing/2014/main" id="{7FAB6CE2-DD0D-48D0-82C0-AA7CC07B53B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1235075" y="3860736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Generative AI &amp; LLM’s</a:t>
            </a:r>
          </a:p>
        </p:txBody>
      </p:sp>
      <p:sp>
        <p:nvSpPr>
          <p:cNvPr id="37" name="MIO_AGENDA_ELEMENT_ELEMENTNUMBER_5">
            <a:hlinkClick r:id="" action="ppaction://noaction"/>
            <a:extLst>
              <a:ext uri="{FF2B5EF4-FFF2-40B4-BE49-F238E27FC236}">
                <a16:creationId xmlns:a16="http://schemas.microsoft.com/office/drawing/2014/main" id="{CE77E5AB-3A7F-4455-8BF0-F8EA0126F171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334433" y="3860736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5</a:t>
            </a:r>
            <a:endParaRPr lang="en-US" sz="20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8" name="MIO_AGENDA_ELEMENT_TITEL_6">
            <a:hlinkClick r:id="" action="ppaction://noaction"/>
            <a:extLst>
              <a:ext uri="{FF2B5EF4-FFF2-40B4-BE49-F238E27FC236}">
                <a16:creationId xmlns:a16="http://schemas.microsoft.com/office/drawing/2014/main" id="{7CEBD169-3EFB-42F2-B856-3BED5F09E60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1235075" y="4508817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/>
              <a:t>From LLM’s to Agentic Systems</a:t>
            </a:r>
            <a:endParaRPr lang="en-US" sz="2000" dirty="0">
              <a:cs typeface="Calibri" panose="020F0502020204030204" pitchFamily="34" charset="0"/>
            </a:endParaRPr>
          </a:p>
        </p:txBody>
      </p:sp>
      <p:sp>
        <p:nvSpPr>
          <p:cNvPr id="39" name="MIO_AGENDA_ELEMENT_ELEMENTNUMBER_6">
            <a:hlinkClick r:id="" action="ppaction://noaction"/>
            <a:extLst>
              <a:ext uri="{FF2B5EF4-FFF2-40B4-BE49-F238E27FC236}">
                <a16:creationId xmlns:a16="http://schemas.microsoft.com/office/drawing/2014/main" id="{06FB1344-D58E-4AA7-B6D4-323DEDF397EB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334433" y="4508817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40" name="MIO_AGENDA_ELEMENT_TITEL_7">
            <a:hlinkClick r:id="" action="ppaction://noaction"/>
            <a:extLst>
              <a:ext uri="{FF2B5EF4-FFF2-40B4-BE49-F238E27FC236}">
                <a16:creationId xmlns:a16="http://schemas.microsoft.com/office/drawing/2014/main" id="{6EC1C474-5C66-46AA-B48D-B95355612F68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1235075" y="5156898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References &amp; Glossary</a:t>
            </a:r>
          </a:p>
        </p:txBody>
      </p:sp>
      <p:sp>
        <p:nvSpPr>
          <p:cNvPr id="41" name="MIO_AGENDA_ELEMENT_ELEMENTNUMBER_7">
            <a:hlinkClick r:id="" action="ppaction://noaction"/>
            <a:extLst>
              <a:ext uri="{FF2B5EF4-FFF2-40B4-BE49-F238E27FC236}">
                <a16:creationId xmlns:a16="http://schemas.microsoft.com/office/drawing/2014/main" id="{36BB4503-4CFC-444E-BD86-0E2BFCBB440D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334433" y="5156898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7</a:t>
            </a:r>
            <a:endParaRPr lang="en-US" sz="20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13305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B68670-1A1A-4EBB-91BB-4A0EEF594D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standing AI, ML, and Deep Learning</a:t>
            </a:r>
            <a:endParaRPr lang="en-IN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A05F64B-AB29-40EA-BC65-E1BC92DD006F}"/>
              </a:ext>
            </a:extLst>
          </p:cNvPr>
          <p:cNvSpPr/>
          <p:nvPr/>
        </p:nvSpPr>
        <p:spPr bwMode="auto">
          <a:xfrm>
            <a:off x="1256631" y="1196752"/>
            <a:ext cx="4824536" cy="5184576"/>
          </a:xfrm>
          <a:prstGeom prst="ellipse">
            <a:avLst/>
          </a:prstGeom>
          <a:solidFill>
            <a:srgbClr val="6CB4AD"/>
          </a:solidFill>
          <a:ln w="12700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00A0605-F284-41BF-9652-EBBE842B10A8}"/>
              </a:ext>
            </a:extLst>
          </p:cNvPr>
          <p:cNvSpPr/>
          <p:nvPr/>
        </p:nvSpPr>
        <p:spPr bwMode="auto">
          <a:xfrm>
            <a:off x="2871379" y="1397360"/>
            <a:ext cx="1656184" cy="648072"/>
          </a:xfrm>
          <a:prstGeom prst="roundRect">
            <a:avLst/>
          </a:prstGeom>
          <a:solidFill>
            <a:srgbClr val="6CB4AD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800" b="1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rtificial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sz="1800" b="1" dirty="0">
                <a:solidFill>
                  <a:schemeClr val="bg1"/>
                </a:solidFill>
                <a:latin typeface="+mn-lt"/>
              </a:rPr>
              <a:t>Intelligence</a:t>
            </a:r>
            <a:endParaRPr lang="en-IN" sz="1800" b="1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E099913-3F5C-4B3F-9DE0-129DB3E44890}"/>
              </a:ext>
            </a:extLst>
          </p:cNvPr>
          <p:cNvSpPr/>
          <p:nvPr/>
        </p:nvSpPr>
        <p:spPr bwMode="auto">
          <a:xfrm>
            <a:off x="1919536" y="2399159"/>
            <a:ext cx="3456384" cy="3744416"/>
          </a:xfrm>
          <a:prstGeom prst="ellipse">
            <a:avLst/>
          </a:prstGeom>
          <a:solidFill>
            <a:srgbClr val="3B9B9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90805A2-BAAB-4E43-897F-94CFA15D96E8}"/>
              </a:ext>
            </a:extLst>
          </p:cNvPr>
          <p:cNvSpPr/>
          <p:nvPr/>
        </p:nvSpPr>
        <p:spPr bwMode="auto">
          <a:xfrm>
            <a:off x="2840807" y="2655167"/>
            <a:ext cx="1656184" cy="673993"/>
          </a:xfrm>
          <a:prstGeom prst="roundRect">
            <a:avLst/>
          </a:prstGeom>
          <a:solidFill>
            <a:srgbClr val="3B9B9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800" b="1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achine Learning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6BA373B-45CC-4A04-8368-45744C1B6F6F}"/>
              </a:ext>
            </a:extLst>
          </p:cNvPr>
          <p:cNvSpPr/>
          <p:nvPr/>
        </p:nvSpPr>
        <p:spPr bwMode="auto">
          <a:xfrm>
            <a:off x="2758841" y="3568824"/>
            <a:ext cx="1768722" cy="2434927"/>
          </a:xfrm>
          <a:prstGeom prst="ellipse">
            <a:avLst/>
          </a:pr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5288AC5-4454-4967-8701-D36EBDF64A18}"/>
              </a:ext>
            </a:extLst>
          </p:cNvPr>
          <p:cNvSpPr/>
          <p:nvPr/>
        </p:nvSpPr>
        <p:spPr bwMode="auto">
          <a:xfrm>
            <a:off x="3020327" y="3903724"/>
            <a:ext cx="1203466" cy="810555"/>
          </a:xfrm>
          <a:prstGeom prst="roundRect">
            <a:avLst/>
          </a:pr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t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800" b="1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eep Learning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FE47306-1BE5-4248-BC06-028740F9851D}"/>
              </a:ext>
            </a:extLst>
          </p:cNvPr>
          <p:cNvCxnSpPr>
            <a:cxnSpLocks/>
          </p:cNvCxnSpPr>
          <p:nvPr/>
        </p:nvCxnSpPr>
        <p:spPr>
          <a:xfrm>
            <a:off x="4484664" y="1721396"/>
            <a:ext cx="2720565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326C701-3BD9-490B-A894-C987F2EFBE26}"/>
              </a:ext>
            </a:extLst>
          </p:cNvPr>
          <p:cNvSpPr/>
          <p:nvPr/>
        </p:nvSpPr>
        <p:spPr bwMode="auto">
          <a:xfrm>
            <a:off x="7357764" y="1253346"/>
            <a:ext cx="3744416" cy="936099"/>
          </a:xfrm>
          <a:prstGeom prst="roundRect">
            <a:avLst/>
          </a:prstGeom>
          <a:noFill/>
          <a:ln w="12700">
            <a:noFill/>
            <a:prstDash val="sysDash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en-IN" sz="1600" b="1" baseline="0" dirty="0">
                <a:solidFill>
                  <a:srgbClr val="BE3283"/>
                </a:solidFill>
                <a:latin typeface="+mn-lt"/>
                <a:ea typeface="+mn-ea"/>
                <a:cs typeface="+mn-cs"/>
              </a:rPr>
              <a:t>Artificial Intelligence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en-IN" sz="1600" baseline="0" dirty="0">
                <a:solidFill>
                  <a:srgbClr val="BE3283"/>
                </a:solidFill>
                <a:latin typeface="+mn-lt"/>
                <a:ea typeface="+mn-ea"/>
                <a:cs typeface="+mn-cs"/>
              </a:rPr>
              <a:t>Ability of machines to imitate human intelligence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321C4DB2-1896-4248-A008-0B8FD4890644}"/>
              </a:ext>
            </a:extLst>
          </p:cNvPr>
          <p:cNvCxnSpPr>
            <a:cxnSpLocks/>
          </p:cNvCxnSpPr>
          <p:nvPr/>
        </p:nvCxnSpPr>
        <p:spPr>
          <a:xfrm>
            <a:off x="4484663" y="2993873"/>
            <a:ext cx="2720565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F6A8BCF-DB18-4DD9-BF0E-6B7D16D9E489}"/>
              </a:ext>
            </a:extLst>
          </p:cNvPr>
          <p:cNvSpPr/>
          <p:nvPr/>
        </p:nvSpPr>
        <p:spPr bwMode="auto">
          <a:xfrm>
            <a:off x="7379715" y="2459096"/>
            <a:ext cx="3744416" cy="1174977"/>
          </a:xfrm>
          <a:prstGeom prst="roundRect">
            <a:avLst/>
          </a:prstGeom>
          <a:noFill/>
          <a:ln w="12700">
            <a:noFill/>
            <a:prstDash val="sysDash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en-IN" sz="1600" b="1" baseline="0" dirty="0">
                <a:solidFill>
                  <a:srgbClr val="BE3283"/>
                </a:solidFill>
                <a:latin typeface="+mn-lt"/>
                <a:ea typeface="+mn-ea"/>
                <a:cs typeface="+mn-cs"/>
              </a:rPr>
              <a:t>Machine Learning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en-IN" sz="1600" baseline="0" dirty="0">
                <a:solidFill>
                  <a:srgbClr val="BE3283"/>
                </a:solidFill>
                <a:latin typeface="+mn-lt"/>
                <a:ea typeface="+mn-ea"/>
                <a:cs typeface="+mn-cs"/>
              </a:rPr>
              <a:t>Algorithms to incorporate intelligence into machine by automatically learning from data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0AA3A46-E207-46D5-8B00-94374B3A353C}"/>
              </a:ext>
            </a:extLst>
          </p:cNvPr>
          <p:cNvCxnSpPr>
            <a:cxnSpLocks/>
          </p:cNvCxnSpPr>
          <p:nvPr/>
        </p:nvCxnSpPr>
        <p:spPr>
          <a:xfrm>
            <a:off x="4484664" y="4371774"/>
            <a:ext cx="2720565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1CB3A5D-65BA-422B-A762-9E07E424F29A}"/>
              </a:ext>
            </a:extLst>
          </p:cNvPr>
          <p:cNvSpPr/>
          <p:nvPr/>
        </p:nvSpPr>
        <p:spPr bwMode="auto">
          <a:xfrm>
            <a:off x="7347048" y="3903724"/>
            <a:ext cx="3744416" cy="1174967"/>
          </a:xfrm>
          <a:prstGeom prst="roundRect">
            <a:avLst/>
          </a:prstGeom>
          <a:noFill/>
          <a:ln w="12700">
            <a:noFill/>
            <a:prstDash val="sysDash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en-IN" sz="1600" b="1" baseline="0" dirty="0">
                <a:solidFill>
                  <a:srgbClr val="BE3283"/>
                </a:solidFill>
                <a:latin typeface="+mn-lt"/>
                <a:ea typeface="+mn-ea"/>
                <a:cs typeface="+mn-cs"/>
              </a:rPr>
              <a:t>Deep Learning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en-IN" sz="1600" baseline="0" dirty="0">
                <a:solidFill>
                  <a:srgbClr val="BE3283"/>
                </a:solidFill>
                <a:latin typeface="+mn-lt"/>
                <a:ea typeface="+mn-ea"/>
                <a:cs typeface="+mn-cs"/>
              </a:rPr>
              <a:t>Algorithms that mimics human brain to incorporate intelligence into machines</a:t>
            </a:r>
          </a:p>
        </p:txBody>
      </p:sp>
      <p:sp>
        <p:nvSpPr>
          <p:cNvPr id="12" name="Flowchart: Connector 11">
            <a:extLst>
              <a:ext uri="{FF2B5EF4-FFF2-40B4-BE49-F238E27FC236}">
                <a16:creationId xmlns:a16="http://schemas.microsoft.com/office/drawing/2014/main" id="{D225E4AC-D31F-4938-B52C-37F2577C2C31}"/>
              </a:ext>
            </a:extLst>
          </p:cNvPr>
          <p:cNvSpPr/>
          <p:nvPr/>
        </p:nvSpPr>
        <p:spPr bwMode="auto">
          <a:xfrm>
            <a:off x="208851" y="3424783"/>
            <a:ext cx="2851855" cy="2870365"/>
          </a:xfrm>
          <a:prstGeom prst="flowChartConnector">
            <a:avLst/>
          </a:prstGeom>
          <a:solidFill>
            <a:srgbClr val="B8DEDA">
              <a:alpha val="63922"/>
            </a:srgbClr>
          </a:solidFill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F42C2F3E-A21E-4F97-A439-3599B81CCC04}"/>
              </a:ext>
            </a:extLst>
          </p:cNvPr>
          <p:cNvSpPr/>
          <p:nvPr/>
        </p:nvSpPr>
        <p:spPr bwMode="auto">
          <a:xfrm>
            <a:off x="812334" y="4346952"/>
            <a:ext cx="1561708" cy="1026025"/>
          </a:xfrm>
          <a:prstGeom prst="roundRect">
            <a:avLst/>
          </a:prstGeom>
          <a:solidFill>
            <a:srgbClr val="B8DEDA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800" b="1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ata Science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F82959E-BA14-4DF2-90A8-AC7E38E5949A}"/>
              </a:ext>
            </a:extLst>
          </p:cNvPr>
          <p:cNvCxnSpPr>
            <a:cxnSpLocks/>
          </p:cNvCxnSpPr>
          <p:nvPr/>
        </p:nvCxnSpPr>
        <p:spPr>
          <a:xfrm>
            <a:off x="2308617" y="5426700"/>
            <a:ext cx="4896612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02C97D5-1D82-4F91-B9C1-73C2C0D48B41}"/>
              </a:ext>
            </a:extLst>
          </p:cNvPr>
          <p:cNvSpPr/>
          <p:nvPr/>
        </p:nvSpPr>
        <p:spPr bwMode="auto">
          <a:xfrm>
            <a:off x="7373738" y="5017170"/>
            <a:ext cx="4554910" cy="1508167"/>
          </a:xfrm>
          <a:prstGeom prst="roundRect">
            <a:avLst/>
          </a:prstGeom>
          <a:noFill/>
          <a:ln w="12700">
            <a:noFill/>
            <a:prstDash val="sysDash"/>
            <a:miter lim="800000"/>
            <a:headEnd/>
            <a:tailEnd/>
          </a:ln>
        </p:spPr>
        <p:txBody>
          <a:bodyPr wrap="square" lIns="72000" tIns="72000" rIns="72000" bIns="72000" rtlCol="0" anchor="t"/>
          <a:lstStyle/>
          <a:p>
            <a:pPr defTabSz="576000" eaLnBrk="0" hangingPunct="0">
              <a:lnSpc>
                <a:spcPct val="120000"/>
              </a:lnSpc>
            </a:pPr>
            <a:r>
              <a:rPr lang="en-IN" sz="1600" b="1" baseline="0" dirty="0">
                <a:solidFill>
                  <a:srgbClr val="BE3283"/>
                </a:solidFill>
                <a:latin typeface="+mn-lt"/>
                <a:ea typeface="+mn-ea"/>
                <a:cs typeface="+mn-cs"/>
              </a:rPr>
              <a:t>Data Science</a:t>
            </a:r>
          </a:p>
          <a:p>
            <a:pPr lvl="0" defTabSz="45718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kern="0" dirty="0">
                <a:solidFill>
                  <a:srgbClr val="BE3283"/>
                </a:solidFill>
                <a:ea typeface="Verdana" pitchFamily="34" charset="0"/>
              </a:rPr>
              <a:t>DS is a field of study which combines Statistics and Math to extract meaningful insights from data.</a:t>
            </a:r>
          </a:p>
        </p:txBody>
      </p:sp>
    </p:spTree>
    <p:extLst>
      <p:ext uri="{BB962C8B-B14F-4D97-AF65-F5344CB8AC3E}">
        <p14:creationId xmlns:p14="http://schemas.microsoft.com/office/powerpoint/2010/main" val="10361567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601A499-F022-2CAB-FC00-3DF684B77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52862"/>
            <a:ext cx="9613068" cy="720000"/>
          </a:xfrm>
        </p:spPr>
        <p:txBody>
          <a:bodyPr/>
          <a:lstStyle/>
          <a:p>
            <a:r>
              <a:rPr lang="en-US" dirty="0">
                <a:latin typeface="+mn-lt"/>
              </a:rPr>
              <a:t>Sub-domains of AI </a:t>
            </a:r>
          </a:p>
        </p:txBody>
      </p:sp>
      <p:sp>
        <p:nvSpPr>
          <p:cNvPr id="8" name="Rounded Rectangle 6">
            <a:extLst>
              <a:ext uri="{FF2B5EF4-FFF2-40B4-BE49-F238E27FC236}">
                <a16:creationId xmlns:a16="http://schemas.microsoft.com/office/drawing/2014/main" id="{8F7D6ACD-D15C-4151-77A6-17C6BF83A783}"/>
              </a:ext>
            </a:extLst>
          </p:cNvPr>
          <p:cNvSpPr/>
          <p:nvPr/>
        </p:nvSpPr>
        <p:spPr bwMode="auto">
          <a:xfrm>
            <a:off x="4302000" y="3303120"/>
            <a:ext cx="3399273" cy="674911"/>
          </a:xfrm>
          <a:prstGeom prst="roundRect">
            <a:avLst/>
          </a:prstGeom>
          <a:solidFill>
            <a:srgbClr val="5EA290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r>
              <a:rPr lang="en-US" sz="1867" b="1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Computer Vision</a:t>
            </a:r>
            <a:endParaRPr lang="en-IN" sz="1867" b="1" dirty="0">
              <a:solidFill>
                <a:schemeClr val="bg1"/>
              </a:solidFill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ounded Rectangle 7">
            <a:extLst>
              <a:ext uri="{FF2B5EF4-FFF2-40B4-BE49-F238E27FC236}">
                <a16:creationId xmlns:a16="http://schemas.microsoft.com/office/drawing/2014/main" id="{BA7131E0-7ACC-8ADF-EEC8-9A2762BE7A0C}"/>
              </a:ext>
            </a:extLst>
          </p:cNvPr>
          <p:cNvSpPr/>
          <p:nvPr/>
        </p:nvSpPr>
        <p:spPr bwMode="auto">
          <a:xfrm>
            <a:off x="8264033" y="3303119"/>
            <a:ext cx="3056526" cy="674913"/>
          </a:xfrm>
          <a:prstGeom prst="round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r>
              <a:rPr lang="en-US" sz="1867" b="1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Data Science</a:t>
            </a:r>
            <a:endParaRPr lang="en-IN" sz="1867" b="1" dirty="0">
              <a:solidFill>
                <a:schemeClr val="bg1"/>
              </a:solidFill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ounded Rectangle 8">
            <a:extLst>
              <a:ext uri="{FF2B5EF4-FFF2-40B4-BE49-F238E27FC236}">
                <a16:creationId xmlns:a16="http://schemas.microsoft.com/office/drawing/2014/main" id="{A2E11BB2-798A-80EF-07C3-15B58C8DC23A}"/>
              </a:ext>
            </a:extLst>
          </p:cNvPr>
          <p:cNvSpPr/>
          <p:nvPr/>
        </p:nvSpPr>
        <p:spPr bwMode="auto">
          <a:xfrm>
            <a:off x="389704" y="3753346"/>
            <a:ext cx="3441260" cy="2429534"/>
          </a:xfrm>
          <a:prstGeom prst="roundRect">
            <a:avLst/>
          </a:prstGeom>
          <a:noFill/>
          <a:ln w="25400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96000" tIns="96000" rIns="96000" bIns="96000" rtlCol="0" anchor="ctr"/>
          <a:lstStyle>
            <a:lvl1pPr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lvl1pPr>
            <a:lvl2pPr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</a:lvl2pPr>
            <a:lvl3pPr>
              <a:buClr>
                <a:schemeClr val="accent1"/>
              </a:buClr>
              <a:buSzPct val="100000"/>
              <a:buFont typeface="Verdana" pitchFamily="34" charset="0"/>
              <a:buChar char="–"/>
            </a:lvl3pPr>
            <a:lvl4pPr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</a:lvl4pPr>
            <a:lvl5pPr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</a:lvl5pPr>
            <a:lvl6pPr>
              <a:buClr>
                <a:schemeClr val="tx1"/>
              </a:buClr>
              <a:buChar char="–"/>
            </a:lvl6pPr>
            <a:lvl7pPr>
              <a:buClr>
                <a:schemeClr val="tx1"/>
              </a:buClr>
              <a:buChar char="–"/>
            </a:lvl7pPr>
            <a:lvl8pPr>
              <a:buClr>
                <a:schemeClr val="tx1"/>
              </a:buClr>
              <a:buChar char="–"/>
            </a:lvl8pPr>
            <a:lvl9pPr>
              <a:buClr>
                <a:schemeClr val="tx1"/>
              </a:buClr>
              <a:buChar char="–"/>
            </a:lvl9pPr>
          </a:lstStyle>
          <a:p>
            <a:pPr eaLnBrk="0" hangingPunct="0">
              <a:buNone/>
            </a:pPr>
            <a:endParaRPr lang="en-US" dirty="0">
              <a:latin typeface="+mn-lt"/>
              <a:ea typeface="Verdana" pitchFamily="34" charset="0"/>
              <a:cs typeface="Verdana" pitchFamily="34" charset="0"/>
            </a:endParaRPr>
          </a:p>
          <a:p>
            <a:pPr eaLnBrk="0" hangingPunct="0">
              <a:buNone/>
            </a:pPr>
            <a:endParaRPr lang="en-US" dirty="0">
              <a:latin typeface="+mn-lt"/>
              <a:ea typeface="Verdana" pitchFamily="34" charset="0"/>
              <a:cs typeface="Verdana" pitchFamily="34" charset="0"/>
            </a:endParaRPr>
          </a:p>
          <a:p>
            <a:pPr eaLnBrk="0" hangingPunct="0">
              <a:buNone/>
            </a:pPr>
            <a:r>
              <a:rPr lang="en-US" dirty="0">
                <a:latin typeface="+mn-lt"/>
                <a:ea typeface="Verdana" pitchFamily="34" charset="0"/>
                <a:cs typeface="Verdana" pitchFamily="34" charset="0"/>
              </a:rPr>
              <a:t>Connects human language to computers and involves all kinds of </a:t>
            </a:r>
            <a:r>
              <a:rPr lang="en-US" b="1" i="1" dirty="0">
                <a:latin typeface="+mn-lt"/>
                <a:ea typeface="Verdana" pitchFamily="34" charset="0"/>
                <a:cs typeface="Verdana" pitchFamily="34" charset="0"/>
              </a:rPr>
              <a:t>text processing, analysis and generation</a:t>
            </a:r>
            <a:r>
              <a:rPr lang="en-US" dirty="0">
                <a:latin typeface="+mn-lt"/>
                <a:ea typeface="Verdana" pitchFamily="34" charset="0"/>
                <a:cs typeface="Verdana" pitchFamily="34" charset="0"/>
              </a:rPr>
              <a:t>. </a:t>
            </a:r>
          </a:p>
          <a:p>
            <a:pPr eaLnBrk="0" hangingPunct="0">
              <a:buNone/>
            </a:pPr>
            <a:endParaRPr lang="en-US" dirty="0">
              <a:latin typeface="+mn-lt"/>
              <a:ea typeface="Verdana" pitchFamily="34" charset="0"/>
              <a:cs typeface="Verdana" pitchFamily="34" charset="0"/>
            </a:endParaRPr>
          </a:p>
          <a:p>
            <a:pPr eaLnBrk="0" hangingPunct="0">
              <a:buNone/>
            </a:pPr>
            <a:r>
              <a:rPr lang="en-US" dirty="0">
                <a:latin typeface="+mn-lt"/>
                <a:ea typeface="Verdana" pitchFamily="34" charset="0"/>
                <a:cs typeface="Verdana" pitchFamily="34" charset="0"/>
              </a:rPr>
              <a:t>Ex.</a:t>
            </a:r>
          </a:p>
          <a:p>
            <a:pPr marL="285750" indent="-285750" eaLnBrk="0" hangingPunct="0"/>
            <a:r>
              <a:rPr lang="en-US" dirty="0">
                <a:latin typeface="+mn-lt"/>
                <a:ea typeface="Verdana" pitchFamily="34" charset="0"/>
                <a:cs typeface="Verdana" pitchFamily="34" charset="0"/>
              </a:rPr>
              <a:t>Sentiment analysis</a:t>
            </a:r>
          </a:p>
          <a:p>
            <a:pPr marL="285750" indent="-285750" eaLnBrk="0" hangingPunct="0"/>
            <a:r>
              <a:rPr lang="en-US" dirty="0">
                <a:latin typeface="+mn-lt"/>
                <a:ea typeface="Verdana" pitchFamily="34" charset="0"/>
                <a:cs typeface="Verdana" pitchFamily="34" charset="0"/>
              </a:rPr>
              <a:t>Text generation</a:t>
            </a:r>
          </a:p>
          <a:p>
            <a:pPr eaLnBrk="0" hangingPunct="0">
              <a:buNone/>
            </a:pPr>
            <a:endParaRPr lang="en-US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Rounded Rectangle 9">
            <a:extLst>
              <a:ext uri="{FF2B5EF4-FFF2-40B4-BE49-F238E27FC236}">
                <a16:creationId xmlns:a16="http://schemas.microsoft.com/office/drawing/2014/main" id="{5C988DBA-ABE4-F97E-324A-032A5D1ED058}"/>
              </a:ext>
            </a:extLst>
          </p:cNvPr>
          <p:cNvSpPr/>
          <p:nvPr/>
        </p:nvSpPr>
        <p:spPr bwMode="auto">
          <a:xfrm>
            <a:off x="4209516" y="3877240"/>
            <a:ext cx="3583481" cy="2332210"/>
          </a:xfrm>
          <a:prstGeom prst="roundRect">
            <a:avLst/>
          </a:prstGeom>
          <a:noFill/>
          <a:ln w="25400" cap="flat" cmpd="sng" algn="ctr">
            <a:solidFill>
              <a:srgbClr val="5EA290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96000" tIns="96000" rIns="96000" bIns="96000" rtlCol="0" anchor="ctr"/>
          <a:lstStyle>
            <a:lvl1pPr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lvl1pPr>
            <a:lvl2pPr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</a:lvl2pPr>
            <a:lvl3pPr>
              <a:buClr>
                <a:schemeClr val="accent1"/>
              </a:buClr>
              <a:buSzPct val="100000"/>
              <a:buFont typeface="Verdana" pitchFamily="34" charset="0"/>
              <a:buChar char="–"/>
            </a:lvl3pPr>
            <a:lvl4pPr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</a:lvl4pPr>
            <a:lvl5pPr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</a:lvl5pPr>
            <a:lvl6pPr>
              <a:buClr>
                <a:schemeClr val="tx1"/>
              </a:buClr>
              <a:buChar char="–"/>
            </a:lvl6pPr>
            <a:lvl7pPr>
              <a:buClr>
                <a:schemeClr val="tx1"/>
              </a:buClr>
              <a:buChar char="–"/>
            </a:lvl7pPr>
            <a:lvl8pPr>
              <a:buClr>
                <a:schemeClr val="tx1"/>
              </a:buClr>
              <a:buChar char="–"/>
            </a:lvl8pPr>
            <a:lvl9pPr>
              <a:buClr>
                <a:schemeClr val="tx1"/>
              </a:buClr>
              <a:buChar char="–"/>
            </a:lvl9pPr>
          </a:lstStyle>
          <a:p>
            <a:pPr eaLnBrk="0" hangingPunct="0">
              <a:buNone/>
            </a:pPr>
            <a:r>
              <a:rPr lang="en-US" dirty="0">
                <a:latin typeface="+mn-lt"/>
                <a:ea typeface="Verdana" pitchFamily="34" charset="0"/>
                <a:cs typeface="Verdana" pitchFamily="34" charset="0"/>
              </a:rPr>
              <a:t>Handles the processing, analysis and </a:t>
            </a:r>
            <a:r>
              <a:rPr lang="en-US" b="1" i="1" dirty="0">
                <a:latin typeface="+mn-lt"/>
                <a:ea typeface="Verdana" pitchFamily="34" charset="0"/>
                <a:cs typeface="Verdana" pitchFamily="34" charset="0"/>
              </a:rPr>
              <a:t>generation of images and videos</a:t>
            </a:r>
            <a:r>
              <a:rPr lang="en-US" dirty="0">
                <a:latin typeface="+mn-lt"/>
                <a:ea typeface="Verdana" pitchFamily="34" charset="0"/>
                <a:cs typeface="Verdana" pitchFamily="34" charset="0"/>
              </a:rPr>
              <a:t>.</a:t>
            </a:r>
          </a:p>
          <a:p>
            <a:pPr eaLnBrk="0" hangingPunct="0">
              <a:buNone/>
            </a:pPr>
            <a:endParaRPr lang="en-US" dirty="0">
              <a:latin typeface="+mn-lt"/>
              <a:ea typeface="Verdana" pitchFamily="34" charset="0"/>
              <a:cs typeface="Verdana" pitchFamily="34" charset="0"/>
            </a:endParaRPr>
          </a:p>
          <a:p>
            <a:pPr eaLnBrk="0" hangingPunct="0">
              <a:buNone/>
            </a:pPr>
            <a:endParaRPr lang="en-US" dirty="0">
              <a:latin typeface="+mn-lt"/>
              <a:ea typeface="Verdana" pitchFamily="34" charset="0"/>
              <a:cs typeface="Verdana" pitchFamily="34" charset="0"/>
            </a:endParaRPr>
          </a:p>
          <a:p>
            <a:pPr eaLnBrk="0" hangingPunct="0">
              <a:buNone/>
            </a:pPr>
            <a:r>
              <a:rPr lang="en-US" dirty="0">
                <a:latin typeface="+mn-lt"/>
                <a:ea typeface="Verdana" pitchFamily="34" charset="0"/>
                <a:cs typeface="Verdana" pitchFamily="34" charset="0"/>
              </a:rPr>
              <a:t>Ex.</a:t>
            </a:r>
          </a:p>
          <a:p>
            <a:pPr marL="228594" indent="-228594" eaLnBrk="0" hangingPunct="0"/>
            <a:r>
              <a:rPr lang="en-US" dirty="0">
                <a:latin typeface="+mn-lt"/>
                <a:ea typeface="Verdana" pitchFamily="34" charset="0"/>
                <a:cs typeface="Verdana" pitchFamily="34" charset="0"/>
              </a:rPr>
              <a:t>Facial classification/detection</a:t>
            </a:r>
          </a:p>
          <a:p>
            <a:pPr marL="228594" indent="-228594" eaLnBrk="0" hangingPunct="0"/>
            <a:r>
              <a:rPr lang="en-US" dirty="0">
                <a:latin typeface="+mn-lt"/>
                <a:ea typeface="Verdana" pitchFamily="34" charset="0"/>
                <a:cs typeface="Verdana" pitchFamily="34" charset="0"/>
              </a:rPr>
              <a:t>Image-to-image generation etc.</a:t>
            </a:r>
          </a:p>
        </p:txBody>
      </p:sp>
      <p:sp>
        <p:nvSpPr>
          <p:cNvPr id="12" name="Rounded Rectangle 10">
            <a:extLst>
              <a:ext uri="{FF2B5EF4-FFF2-40B4-BE49-F238E27FC236}">
                <a16:creationId xmlns:a16="http://schemas.microsoft.com/office/drawing/2014/main" id="{89BE2BFA-E09D-9717-5F65-DF870C201CCC}"/>
              </a:ext>
            </a:extLst>
          </p:cNvPr>
          <p:cNvSpPr/>
          <p:nvPr/>
        </p:nvSpPr>
        <p:spPr bwMode="auto">
          <a:xfrm>
            <a:off x="8179904" y="3779918"/>
            <a:ext cx="3282446" cy="2429533"/>
          </a:xfrm>
          <a:prstGeom prst="roundRect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eaLnBrk="0" hangingPunct="0"/>
            <a:r>
              <a:rPr lang="en-US" dirty="0">
                <a:latin typeface="+mn-lt"/>
              </a:rPr>
              <a:t>O</a:t>
            </a:r>
            <a:r>
              <a:rPr lang="en-US" b="0" i="0" dirty="0">
                <a:effectLst/>
                <a:latin typeface="+mn-lt"/>
              </a:rPr>
              <a:t>pens the door to process and analyze huge amounts of data to </a:t>
            </a:r>
            <a:r>
              <a:rPr lang="en-US" b="1" i="1" dirty="0">
                <a:effectLst/>
                <a:latin typeface="+mn-lt"/>
              </a:rPr>
              <a:t>extract useful insights </a:t>
            </a:r>
            <a:r>
              <a:rPr lang="en-US" b="0" i="0" dirty="0">
                <a:effectLst/>
                <a:latin typeface="+mn-lt"/>
              </a:rPr>
              <a:t>from them.</a:t>
            </a:r>
          </a:p>
          <a:p>
            <a:pPr eaLnBrk="0" hangingPunct="0"/>
            <a:r>
              <a:rPr lang="en-US" b="0" i="0" dirty="0">
                <a:effectLst/>
                <a:latin typeface="+mn-lt"/>
              </a:rPr>
              <a:t>  </a:t>
            </a:r>
          </a:p>
          <a:p>
            <a:pPr eaLnBrk="0" hangingPunct="0"/>
            <a:endParaRPr lang="en-US" dirty="0">
              <a:latin typeface="+mn-lt"/>
              <a:ea typeface="Verdana" pitchFamily="34" charset="0"/>
              <a:cs typeface="Verdana" pitchFamily="34" charset="0"/>
            </a:endParaRPr>
          </a:p>
          <a:p>
            <a:pPr eaLnBrk="0" hangingPunct="0"/>
            <a:r>
              <a:rPr lang="en-US" dirty="0">
                <a:latin typeface="+mn-lt"/>
                <a:ea typeface="Verdana" pitchFamily="34" charset="0"/>
                <a:cs typeface="Verdana" pitchFamily="34" charset="0"/>
              </a:rPr>
              <a:t>Ex.</a:t>
            </a:r>
          </a:p>
          <a:p>
            <a:pPr marL="228594" indent="-228594" eaLnBrk="0" hangingPunct="0"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pPr>
            <a:r>
              <a:rPr lang="en-US" dirty="0">
                <a:latin typeface="+mn-lt"/>
                <a:ea typeface="Verdana" pitchFamily="34" charset="0"/>
                <a:cs typeface="Verdana" pitchFamily="34" charset="0"/>
              </a:rPr>
              <a:t>Recommendation systems</a:t>
            </a:r>
          </a:p>
          <a:p>
            <a:pPr marL="228594" indent="-228594" eaLnBrk="0" hangingPunct="0"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pPr>
            <a:r>
              <a:rPr lang="en-US" dirty="0">
                <a:latin typeface="+mn-lt"/>
                <a:ea typeface="Verdana" pitchFamily="34" charset="0"/>
                <a:cs typeface="Verdana" pitchFamily="34" charset="0"/>
              </a:rPr>
              <a:t>Social media analysis</a:t>
            </a:r>
          </a:p>
        </p:txBody>
      </p:sp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5B5648BF-D13F-E12F-B08D-EE71D9DAFA43}"/>
              </a:ext>
            </a:extLst>
          </p:cNvPr>
          <p:cNvSpPr/>
          <p:nvPr/>
        </p:nvSpPr>
        <p:spPr bwMode="auto">
          <a:xfrm>
            <a:off x="463139" y="3303119"/>
            <a:ext cx="3294390" cy="650383"/>
          </a:xfrm>
          <a:prstGeom prst="round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r>
              <a:rPr lang="en-US" sz="1867" b="1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Natural Language Processing</a:t>
            </a:r>
            <a:endParaRPr lang="en-IN" sz="1867" b="1" dirty="0">
              <a:solidFill>
                <a:schemeClr val="bg1"/>
              </a:solidFill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AAAB96-AEE9-420F-826C-2023CA83913C}"/>
              </a:ext>
            </a:extLst>
          </p:cNvPr>
          <p:cNvSpPr txBox="1"/>
          <p:nvPr/>
        </p:nvSpPr>
        <p:spPr bwMode="auto">
          <a:xfrm>
            <a:off x="5700086" y="1532797"/>
            <a:ext cx="1240803" cy="46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sz="1400" b="1" kern="0" baseline="0" dirty="0">
                <a:latin typeface="+mn-lt"/>
                <a:ea typeface="+mn-ea"/>
                <a:cs typeface="+mn-cs"/>
              </a:rPr>
              <a:t>Twitter User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EA7448F9-9734-4FA5-91E3-13673D2B1E7B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2110334" y="1870940"/>
            <a:ext cx="4111036" cy="143217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238CDBB-4062-442F-96D1-F0E67619A183}"/>
              </a:ext>
            </a:extLst>
          </p:cNvPr>
          <p:cNvCxnSpPr>
            <a:cxnSpLocks/>
            <a:endCxn id="8" idx="0"/>
          </p:cNvCxnSpPr>
          <p:nvPr/>
        </p:nvCxnSpPr>
        <p:spPr>
          <a:xfrm flipH="1">
            <a:off x="6001637" y="1892295"/>
            <a:ext cx="219732" cy="141082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A343939-EFC9-4B38-8A31-4357C18EF142}"/>
              </a:ext>
            </a:extLst>
          </p:cNvPr>
          <p:cNvCxnSpPr>
            <a:cxnSpLocks/>
            <a:endCxn id="9" idx="0"/>
          </p:cNvCxnSpPr>
          <p:nvPr/>
        </p:nvCxnSpPr>
        <p:spPr>
          <a:xfrm>
            <a:off x="6199654" y="1870940"/>
            <a:ext cx="3592642" cy="143217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44EF2ECE-BD96-44EC-BBEA-836CCC67DCB8}"/>
              </a:ext>
            </a:extLst>
          </p:cNvPr>
          <p:cNvSpPr txBox="1"/>
          <p:nvPr/>
        </p:nvSpPr>
        <p:spPr bwMode="auto">
          <a:xfrm rot="20428826">
            <a:off x="3164940" y="2241819"/>
            <a:ext cx="1834791" cy="361857"/>
          </a:xfrm>
          <a:prstGeom prst="rect">
            <a:avLst/>
          </a:prstGeom>
          <a:noFill/>
          <a:ln w="9525">
            <a:noFill/>
            <a:prstDash val="lgDash"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sz="1400" kern="0" baseline="0" dirty="0">
                <a:latin typeface="+mn-lt"/>
                <a:ea typeface="+mn-ea"/>
                <a:cs typeface="+mn-cs"/>
              </a:rPr>
              <a:t>Tweets, comment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2B3D584-D67F-4920-8503-7DD30B18D0E4}"/>
              </a:ext>
            </a:extLst>
          </p:cNvPr>
          <p:cNvSpPr txBox="1"/>
          <p:nvPr/>
        </p:nvSpPr>
        <p:spPr bwMode="auto">
          <a:xfrm rot="16923917">
            <a:off x="5214113" y="2414513"/>
            <a:ext cx="1475984" cy="40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sz="1400" kern="0" baseline="0" dirty="0">
                <a:latin typeface="+mn-lt"/>
              </a:rPr>
              <a:t>Images</a:t>
            </a:r>
            <a:r>
              <a:rPr lang="en-IN" kern="0" dirty="0">
                <a:latin typeface="+mn-lt"/>
              </a:rPr>
              <a:t>,</a:t>
            </a:r>
            <a:r>
              <a:rPr lang="en-IN" sz="1400" kern="0" baseline="0" dirty="0">
                <a:latin typeface="+mn-lt"/>
              </a:rPr>
              <a:t> video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2D92DF7-84B3-49DC-927C-E92089A940B5}"/>
              </a:ext>
            </a:extLst>
          </p:cNvPr>
          <p:cNvSpPr txBox="1"/>
          <p:nvPr/>
        </p:nvSpPr>
        <p:spPr bwMode="auto">
          <a:xfrm rot="1289094">
            <a:off x="6867976" y="2299928"/>
            <a:ext cx="2977636" cy="424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sz="1400" kern="0" baseline="0" dirty="0">
                <a:latin typeface="+mn-lt"/>
                <a:ea typeface="+mn-ea"/>
                <a:cs typeface="+mn-cs"/>
              </a:rPr>
              <a:t>No. of followers, retweets, lik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BCB32B1-1D7E-4A58-B743-DDF1E681528C}"/>
              </a:ext>
            </a:extLst>
          </p:cNvPr>
          <p:cNvSpPr/>
          <p:nvPr/>
        </p:nvSpPr>
        <p:spPr bwMode="auto">
          <a:xfrm>
            <a:off x="263352" y="3068960"/>
            <a:ext cx="3748745" cy="3312368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3CAE04-17CB-4035-98B9-59189243AA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4304" y="666967"/>
            <a:ext cx="850699" cy="874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59157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7" grpId="0" animBg="1"/>
      <p:bldP spid="23" grpId="0"/>
      <p:bldP spid="24" grpId="0"/>
      <p:bldP spid="25" grpId="0"/>
      <p:bldP spid="1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DBD4E-6BDA-4C54-9216-B37057FB5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Agenda</a:t>
            </a:r>
          </a:p>
        </p:txBody>
      </p:sp>
      <p:sp>
        <p:nvSpPr>
          <p:cNvPr id="27" name="MIO_AGENDA_ELEMENT_TITEL_4">
            <a:hlinkClick r:id="" action="ppaction://noaction"/>
            <a:extLst>
              <a:ext uri="{FF2B5EF4-FFF2-40B4-BE49-F238E27FC236}">
                <a16:creationId xmlns:a16="http://schemas.microsoft.com/office/drawing/2014/main" id="{5F7EE3AB-0A83-4648-A26A-22CC76D546A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1241679" y="3212655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b="1" dirty="0">
                <a:latin typeface="+mn-lt"/>
                <a:cs typeface="Calibri" panose="020F0502020204030204" pitchFamily="34" charset="0"/>
              </a:rPr>
              <a:t>The Magic of Words: Exploring NLP</a:t>
            </a:r>
          </a:p>
        </p:txBody>
      </p:sp>
      <p:sp>
        <p:nvSpPr>
          <p:cNvPr id="28" name="MIO_AGENDA_ELEMENT_TITEL_3">
            <a:hlinkClick r:id="" action="ppaction://noaction"/>
            <a:extLst>
              <a:ext uri="{FF2B5EF4-FFF2-40B4-BE49-F238E27FC236}">
                <a16:creationId xmlns:a16="http://schemas.microsoft.com/office/drawing/2014/main" id="{C5EDBFCD-C3A1-4E98-8496-82EECAE6FE2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241678" y="256655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/>
              <a:t>Understanding AI, ML, and DL</a:t>
            </a:r>
            <a:endParaRPr lang="en-US" sz="32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9" name="MIO_AGENDA_ELEMENT_TITEL_1">
            <a:hlinkClick r:id="" action="ppaction://noaction"/>
            <a:extLst>
              <a:ext uri="{FF2B5EF4-FFF2-40B4-BE49-F238E27FC236}">
                <a16:creationId xmlns:a16="http://schemas.microsoft.com/office/drawing/2014/main" id="{AFCAEBBB-21F5-4E7A-B2FF-33FEC0318CC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1235074" y="126841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Introduction</a:t>
            </a:r>
          </a:p>
        </p:txBody>
      </p:sp>
      <p:sp>
        <p:nvSpPr>
          <p:cNvPr id="30" name="MIO_AGENDA_ELEMENT_TITEL_2">
            <a:hlinkClick r:id="" action="ppaction://noaction"/>
            <a:extLst>
              <a:ext uri="{FF2B5EF4-FFF2-40B4-BE49-F238E27FC236}">
                <a16:creationId xmlns:a16="http://schemas.microsoft.com/office/drawing/2014/main" id="{0517FAAD-E521-41E5-A920-2B7BA63A921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235075" y="191649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cs typeface="Calibri" panose="020F0502020204030204" pitchFamily="34" charset="0"/>
              </a:rPr>
              <a:t>Our Diverse Expertise at Infineon</a:t>
            </a:r>
          </a:p>
        </p:txBody>
      </p:sp>
      <p:sp>
        <p:nvSpPr>
          <p:cNvPr id="31" name="MIO_AGENDA_ELEMENT_ELEMENTNUMBER_3">
            <a:hlinkClick r:id="" action="ppaction://noaction"/>
            <a:extLst>
              <a:ext uri="{FF2B5EF4-FFF2-40B4-BE49-F238E27FC236}">
                <a16:creationId xmlns:a16="http://schemas.microsoft.com/office/drawing/2014/main" id="{416C2E09-3F65-4DE1-9E70-B438F5D5008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34433" y="2564574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2" name="MIO_AGENDA_ELEMENT_ELEMENTNUMBER_4">
            <a:hlinkClick r:id="" action="ppaction://noaction"/>
            <a:extLst>
              <a:ext uri="{FF2B5EF4-FFF2-40B4-BE49-F238E27FC236}">
                <a16:creationId xmlns:a16="http://schemas.microsoft.com/office/drawing/2014/main" id="{7F08F1CC-69CF-401B-A20B-FFE24BE3CE2E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34433" y="3212655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4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9D5F54F9-CF45-495E-95FF-58411168B182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334433" y="191649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5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B81BB8D1-C42D-4126-8291-252C758E66F3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335360" y="126841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6" name="MIO_AGENDA_ELEMENT_TITEL_5">
            <a:hlinkClick r:id="" action="ppaction://noaction"/>
            <a:extLst>
              <a:ext uri="{FF2B5EF4-FFF2-40B4-BE49-F238E27FC236}">
                <a16:creationId xmlns:a16="http://schemas.microsoft.com/office/drawing/2014/main" id="{7FAB6CE2-DD0D-48D0-82C0-AA7CC07B53B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1235075" y="3860736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Generative AI &amp; LLM’s</a:t>
            </a:r>
          </a:p>
        </p:txBody>
      </p:sp>
      <p:sp>
        <p:nvSpPr>
          <p:cNvPr id="37" name="MIO_AGENDA_ELEMENT_ELEMENTNUMBER_5">
            <a:hlinkClick r:id="" action="ppaction://noaction"/>
            <a:extLst>
              <a:ext uri="{FF2B5EF4-FFF2-40B4-BE49-F238E27FC236}">
                <a16:creationId xmlns:a16="http://schemas.microsoft.com/office/drawing/2014/main" id="{CE77E5AB-3A7F-4455-8BF0-F8EA0126F171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334433" y="3860736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5</a:t>
            </a:r>
            <a:endParaRPr lang="en-US" sz="20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8" name="MIO_AGENDA_ELEMENT_TITEL_6">
            <a:hlinkClick r:id="" action="ppaction://noaction"/>
            <a:extLst>
              <a:ext uri="{FF2B5EF4-FFF2-40B4-BE49-F238E27FC236}">
                <a16:creationId xmlns:a16="http://schemas.microsoft.com/office/drawing/2014/main" id="{7CEBD169-3EFB-42F2-B856-3BED5F09E60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1235075" y="4508817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/>
              <a:t>From LLM’s to Agentic Systems</a:t>
            </a:r>
            <a:endParaRPr lang="en-US" sz="2000" dirty="0">
              <a:cs typeface="Calibri" panose="020F0502020204030204" pitchFamily="34" charset="0"/>
            </a:endParaRPr>
          </a:p>
        </p:txBody>
      </p:sp>
      <p:sp>
        <p:nvSpPr>
          <p:cNvPr id="39" name="MIO_AGENDA_ELEMENT_ELEMENTNUMBER_6">
            <a:hlinkClick r:id="" action="ppaction://noaction"/>
            <a:extLst>
              <a:ext uri="{FF2B5EF4-FFF2-40B4-BE49-F238E27FC236}">
                <a16:creationId xmlns:a16="http://schemas.microsoft.com/office/drawing/2014/main" id="{06FB1344-D58E-4AA7-B6D4-323DEDF397EB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334433" y="4508817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40" name="MIO_AGENDA_ELEMENT_TITEL_7">
            <a:hlinkClick r:id="" action="ppaction://noaction"/>
            <a:extLst>
              <a:ext uri="{FF2B5EF4-FFF2-40B4-BE49-F238E27FC236}">
                <a16:creationId xmlns:a16="http://schemas.microsoft.com/office/drawing/2014/main" id="{6EC1C474-5C66-46AA-B48D-B95355612F68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1235075" y="5156898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References &amp; Glossary</a:t>
            </a:r>
          </a:p>
        </p:txBody>
      </p:sp>
      <p:sp>
        <p:nvSpPr>
          <p:cNvPr id="41" name="MIO_AGENDA_ELEMENT_ELEMENTNUMBER_7">
            <a:hlinkClick r:id="" action="ppaction://noaction"/>
            <a:extLst>
              <a:ext uri="{FF2B5EF4-FFF2-40B4-BE49-F238E27FC236}">
                <a16:creationId xmlns:a16="http://schemas.microsoft.com/office/drawing/2014/main" id="{36BB4503-4CFC-444E-BD86-0E2BFCBB440D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334433" y="5156898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7</a:t>
            </a:r>
            <a:endParaRPr lang="en-US" sz="20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0671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A48BA-6A12-435B-8E08-307621841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Introduction to Natural Language Processing (NLP)</a:t>
            </a:r>
          </a:p>
        </p:txBody>
      </p:sp>
      <p:pic>
        <p:nvPicPr>
          <p:cNvPr id="38" name="Graphic 37" descr="Man">
            <a:extLst>
              <a:ext uri="{FF2B5EF4-FFF2-40B4-BE49-F238E27FC236}">
                <a16:creationId xmlns:a16="http://schemas.microsoft.com/office/drawing/2014/main" id="{6C4F9B19-11A8-4BFA-827B-329AA8F6C2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3352" y="1662958"/>
            <a:ext cx="1800000" cy="1800000"/>
          </a:xfrm>
          <a:prstGeom prst="rect">
            <a:avLst/>
          </a:prstGeom>
        </p:spPr>
      </p:pic>
      <p:pic>
        <p:nvPicPr>
          <p:cNvPr id="39" name="Graphic 38" descr="Man">
            <a:extLst>
              <a:ext uri="{FF2B5EF4-FFF2-40B4-BE49-F238E27FC236}">
                <a16:creationId xmlns:a16="http://schemas.microsoft.com/office/drawing/2014/main" id="{6B40E63A-6144-4935-8F7E-3E5CBF5D37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3352" y="4296867"/>
            <a:ext cx="1800000" cy="1800000"/>
          </a:xfrm>
          <a:prstGeom prst="rect">
            <a:avLst/>
          </a:prstGeom>
        </p:spPr>
      </p:pic>
      <p:pic>
        <p:nvPicPr>
          <p:cNvPr id="41" name="Graphic 40" descr="Robot">
            <a:extLst>
              <a:ext uri="{FF2B5EF4-FFF2-40B4-BE49-F238E27FC236}">
                <a16:creationId xmlns:a16="http://schemas.microsoft.com/office/drawing/2014/main" id="{859A0757-7D99-41DE-BE4B-2AEE8DE59C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29945" y="4296867"/>
            <a:ext cx="1800000" cy="1800000"/>
          </a:xfrm>
          <a:prstGeom prst="rect">
            <a:avLst/>
          </a:prstGeom>
        </p:spPr>
      </p:pic>
      <p:pic>
        <p:nvPicPr>
          <p:cNvPr id="42" name="Graphic 41" descr="Man">
            <a:extLst>
              <a:ext uri="{FF2B5EF4-FFF2-40B4-BE49-F238E27FC236}">
                <a16:creationId xmlns:a16="http://schemas.microsoft.com/office/drawing/2014/main" id="{900F67EF-2A09-4727-A2CC-4865C36BD1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29945" y="1662958"/>
            <a:ext cx="1800000" cy="1800000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D1555395-09D9-4E39-AFC8-8D016B4D427E}"/>
              </a:ext>
            </a:extLst>
          </p:cNvPr>
          <p:cNvSpPr txBox="1"/>
          <p:nvPr/>
        </p:nvSpPr>
        <p:spPr bwMode="auto">
          <a:xfrm>
            <a:off x="335360" y="1124487"/>
            <a:ext cx="3946594" cy="287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867" b="1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Human-To-Human Communicati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968E0F1-6396-4C23-A58C-50BC4B768197}"/>
              </a:ext>
            </a:extLst>
          </p:cNvPr>
          <p:cNvSpPr txBox="1"/>
          <p:nvPr/>
        </p:nvSpPr>
        <p:spPr bwMode="auto">
          <a:xfrm>
            <a:off x="335360" y="3774069"/>
            <a:ext cx="4090863" cy="287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867" b="1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Human-To-Machine Communication</a:t>
            </a: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36624C4A-E8C4-4395-95BD-437A9889F8CA}"/>
              </a:ext>
            </a:extLst>
          </p:cNvPr>
          <p:cNvSpPr/>
          <p:nvPr/>
        </p:nvSpPr>
        <p:spPr bwMode="auto">
          <a:xfrm>
            <a:off x="1864992" y="4607978"/>
            <a:ext cx="720000" cy="468000"/>
          </a:xfrm>
          <a:prstGeom prst="rightArrow">
            <a:avLst>
              <a:gd name="adj1" fmla="val 50000"/>
              <a:gd name="adj2" fmla="val 67806"/>
            </a:avLst>
          </a:prstGeom>
          <a:solidFill>
            <a:srgbClr val="D1E1DB"/>
          </a:solidFill>
          <a:ln w="19050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A86A43E2-40F8-4690-8009-F8E4047B00E9}"/>
              </a:ext>
            </a:extLst>
          </p:cNvPr>
          <p:cNvSpPr/>
          <p:nvPr/>
        </p:nvSpPr>
        <p:spPr bwMode="auto">
          <a:xfrm>
            <a:off x="1788137" y="1867321"/>
            <a:ext cx="720000" cy="468000"/>
          </a:xfrm>
          <a:prstGeom prst="rightArrow">
            <a:avLst>
              <a:gd name="adj1" fmla="val 50000"/>
              <a:gd name="adj2" fmla="val 67806"/>
            </a:avLst>
          </a:prstGeom>
          <a:solidFill>
            <a:srgbClr val="D1E1DB"/>
          </a:solidFill>
          <a:ln w="19050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D040DE14-B176-46F7-9127-6E4D57FE1F5E}"/>
              </a:ext>
            </a:extLst>
          </p:cNvPr>
          <p:cNvSpPr/>
          <p:nvPr/>
        </p:nvSpPr>
        <p:spPr bwMode="auto">
          <a:xfrm rot="10800000">
            <a:off x="9895272" y="3059968"/>
            <a:ext cx="720000" cy="468000"/>
          </a:xfrm>
          <a:prstGeom prst="rightArrow">
            <a:avLst>
              <a:gd name="adj1" fmla="val 50000"/>
              <a:gd name="adj2" fmla="val 67806"/>
            </a:avLst>
          </a:prstGeom>
          <a:solidFill>
            <a:srgbClr val="D1E1DB"/>
          </a:solidFill>
          <a:ln w="19050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ABAC0E92-A0C8-4A67-B648-A2D271FAD70B}"/>
              </a:ext>
            </a:extLst>
          </p:cNvPr>
          <p:cNvSpPr/>
          <p:nvPr/>
        </p:nvSpPr>
        <p:spPr bwMode="auto">
          <a:xfrm>
            <a:off x="2928665" y="1686705"/>
            <a:ext cx="2203200" cy="828000"/>
          </a:xfrm>
          <a:prstGeom prst="round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dirty="0">
                <a:solidFill>
                  <a:schemeClr val="bg1"/>
                </a:solidFill>
                <a:latin typeface="+mn-lt"/>
              </a:rPr>
              <a:t>Hey, what's your favorite movie?</a:t>
            </a:r>
            <a:endParaRPr lang="en-IN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B1496EEE-1F95-4284-90AC-FE6BEE147E5F}"/>
              </a:ext>
            </a:extLst>
          </p:cNvPr>
          <p:cNvSpPr/>
          <p:nvPr/>
        </p:nvSpPr>
        <p:spPr bwMode="auto">
          <a:xfrm>
            <a:off x="6051606" y="2854446"/>
            <a:ext cx="3634544" cy="936000"/>
          </a:xfrm>
          <a:prstGeom prst="round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dirty="0">
                <a:solidFill>
                  <a:schemeClr val="bg1"/>
                </a:solidFill>
                <a:latin typeface="+mn-lt"/>
              </a:rPr>
              <a:t>Hmm, that's tough! I really like "The Shawshank Redemption". It's a great story about hope and redemption.</a:t>
            </a:r>
            <a:endParaRPr lang="en-IN" sz="16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3180C39C-D80E-4C0F-AEAB-3BEA58F56617}"/>
              </a:ext>
            </a:extLst>
          </p:cNvPr>
          <p:cNvSpPr/>
          <p:nvPr/>
        </p:nvSpPr>
        <p:spPr bwMode="auto">
          <a:xfrm>
            <a:off x="3004574" y="4458177"/>
            <a:ext cx="2203200" cy="828000"/>
          </a:xfrm>
          <a:prstGeom prst="round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dirty="0">
                <a:solidFill>
                  <a:schemeClr val="bg1"/>
                </a:solidFill>
                <a:latin typeface="+mn-lt"/>
              </a:rPr>
              <a:t>Can you recommend a good movie to watch?</a:t>
            </a:r>
            <a:endParaRPr lang="en-IN" sz="16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AFAB305F-004D-450B-94AC-2BC78565FEBB}"/>
              </a:ext>
            </a:extLst>
          </p:cNvPr>
          <p:cNvSpPr/>
          <p:nvPr/>
        </p:nvSpPr>
        <p:spPr bwMode="auto">
          <a:xfrm rot="10800000">
            <a:off x="9895272" y="5600179"/>
            <a:ext cx="720000" cy="468000"/>
          </a:xfrm>
          <a:prstGeom prst="rightArrow">
            <a:avLst>
              <a:gd name="adj1" fmla="val 50000"/>
              <a:gd name="adj2" fmla="val 67806"/>
            </a:avLst>
          </a:prstGeom>
          <a:solidFill>
            <a:srgbClr val="D1E1DB"/>
          </a:solidFill>
          <a:ln w="19050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62" name="Graphic 61" descr="Brain">
            <a:extLst>
              <a:ext uri="{FF2B5EF4-FFF2-40B4-BE49-F238E27FC236}">
                <a16:creationId xmlns:a16="http://schemas.microsoft.com/office/drawing/2014/main" id="{4089D0FB-9284-40A2-AB4B-B202F21473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14362" y="1693878"/>
            <a:ext cx="869080" cy="8690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3" name="Arrow: Striped Right 62">
            <a:extLst>
              <a:ext uri="{FF2B5EF4-FFF2-40B4-BE49-F238E27FC236}">
                <a16:creationId xmlns:a16="http://schemas.microsoft.com/office/drawing/2014/main" id="{872B076C-3778-41A6-86A6-8A56E110E12A}"/>
              </a:ext>
            </a:extLst>
          </p:cNvPr>
          <p:cNvSpPr/>
          <p:nvPr/>
        </p:nvSpPr>
        <p:spPr bwMode="auto">
          <a:xfrm>
            <a:off x="5835232" y="1846579"/>
            <a:ext cx="604349" cy="517651"/>
          </a:xfrm>
          <a:prstGeom prst="stripedRightArrow">
            <a:avLst>
              <a:gd name="adj1" fmla="val 50000"/>
              <a:gd name="adj2" fmla="val 61260"/>
            </a:avLst>
          </a:prstGeom>
          <a:solidFill>
            <a:srgbClr val="D1E1DB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EA1B594-4E99-4B15-979A-43F16BC21C2B}"/>
              </a:ext>
            </a:extLst>
          </p:cNvPr>
          <p:cNvSpPr/>
          <p:nvPr/>
        </p:nvSpPr>
        <p:spPr>
          <a:xfrm>
            <a:off x="6494404" y="1777357"/>
            <a:ext cx="2119958" cy="7368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200" b="1" i="1" dirty="0">
                <a:latin typeface="+mn-lt"/>
              </a:rPr>
              <a:t>Human brain Interprets the message and gives the response</a:t>
            </a:r>
          </a:p>
        </p:txBody>
      </p:sp>
      <p:sp>
        <p:nvSpPr>
          <p:cNvPr id="66" name="Arrow: Striped Right 65">
            <a:extLst>
              <a:ext uri="{FF2B5EF4-FFF2-40B4-BE49-F238E27FC236}">
                <a16:creationId xmlns:a16="http://schemas.microsoft.com/office/drawing/2014/main" id="{DCAA45FC-70A2-4F05-BD3A-5CF02515CD41}"/>
              </a:ext>
            </a:extLst>
          </p:cNvPr>
          <p:cNvSpPr/>
          <p:nvPr/>
        </p:nvSpPr>
        <p:spPr bwMode="auto">
          <a:xfrm>
            <a:off x="9612104" y="1846579"/>
            <a:ext cx="604349" cy="517651"/>
          </a:xfrm>
          <a:prstGeom prst="stripedRightArrow">
            <a:avLst>
              <a:gd name="adj1" fmla="val 50000"/>
              <a:gd name="adj2" fmla="val 61260"/>
            </a:avLst>
          </a:prstGeom>
          <a:solidFill>
            <a:srgbClr val="D1E1DB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3637912-969A-4EFB-A804-8E3E7BBD6C6B}"/>
              </a:ext>
            </a:extLst>
          </p:cNvPr>
          <p:cNvSpPr/>
          <p:nvPr/>
        </p:nvSpPr>
        <p:spPr bwMode="auto">
          <a:xfrm>
            <a:off x="5591944" y="1578477"/>
            <a:ext cx="4738001" cy="1094037"/>
          </a:xfrm>
          <a:prstGeom prst="rect">
            <a:avLst/>
          </a:prstGeom>
          <a:noFill/>
          <a:ln w="19050">
            <a:solidFill>
              <a:schemeClr val="tx2"/>
            </a:solidFill>
            <a:prstDash val="lgDash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49E9B896-D462-4002-9A2E-8B97DC77BA16}"/>
              </a:ext>
            </a:extLst>
          </p:cNvPr>
          <p:cNvSpPr/>
          <p:nvPr/>
        </p:nvSpPr>
        <p:spPr bwMode="auto">
          <a:xfrm>
            <a:off x="6051606" y="5478538"/>
            <a:ext cx="3634544" cy="936000"/>
          </a:xfrm>
          <a:prstGeom prst="round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dirty="0">
                <a:solidFill>
                  <a:schemeClr val="bg1"/>
                </a:solidFill>
                <a:latin typeface="+mn-lt"/>
              </a:rPr>
              <a:t>Based on your viewing history, I would suggest "The Shawshank Redemption" or "Forrest Gump". Which one do you prefer?</a:t>
            </a:r>
            <a:endParaRPr lang="en-IN" sz="1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6" name="Arrow: Striped Right 75">
            <a:extLst>
              <a:ext uri="{FF2B5EF4-FFF2-40B4-BE49-F238E27FC236}">
                <a16:creationId xmlns:a16="http://schemas.microsoft.com/office/drawing/2014/main" id="{67D418DD-E049-4B85-87E2-EF2937A9CF9F}"/>
              </a:ext>
            </a:extLst>
          </p:cNvPr>
          <p:cNvSpPr/>
          <p:nvPr/>
        </p:nvSpPr>
        <p:spPr bwMode="auto">
          <a:xfrm>
            <a:off x="5909278" y="4503238"/>
            <a:ext cx="604349" cy="517651"/>
          </a:xfrm>
          <a:prstGeom prst="stripedRightArrow">
            <a:avLst>
              <a:gd name="adj1" fmla="val 50000"/>
              <a:gd name="adj2" fmla="val 61260"/>
            </a:avLst>
          </a:prstGeom>
          <a:solidFill>
            <a:srgbClr val="D1E1DB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82700D-C226-4B9C-BC07-A6009960AA42}"/>
              </a:ext>
            </a:extLst>
          </p:cNvPr>
          <p:cNvSpPr/>
          <p:nvPr/>
        </p:nvSpPr>
        <p:spPr>
          <a:xfrm>
            <a:off x="6389166" y="4288309"/>
            <a:ext cx="2330433" cy="9584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200" b="1" i="1" dirty="0">
                <a:latin typeface="+mn-lt"/>
              </a:rPr>
              <a:t>NLP allows the machine to understand &amp; communicate with humans in Natural Language</a:t>
            </a:r>
          </a:p>
        </p:txBody>
      </p:sp>
      <p:sp>
        <p:nvSpPr>
          <p:cNvPr id="78" name="Arrow: Striped Right 77">
            <a:extLst>
              <a:ext uri="{FF2B5EF4-FFF2-40B4-BE49-F238E27FC236}">
                <a16:creationId xmlns:a16="http://schemas.microsoft.com/office/drawing/2014/main" id="{37486FE1-8E1A-425B-B817-F727DFEF5CD9}"/>
              </a:ext>
            </a:extLst>
          </p:cNvPr>
          <p:cNvSpPr/>
          <p:nvPr/>
        </p:nvSpPr>
        <p:spPr bwMode="auto">
          <a:xfrm>
            <a:off x="9686150" y="4503238"/>
            <a:ext cx="604349" cy="517651"/>
          </a:xfrm>
          <a:prstGeom prst="stripedRightArrow">
            <a:avLst>
              <a:gd name="adj1" fmla="val 50000"/>
              <a:gd name="adj2" fmla="val 61260"/>
            </a:avLst>
          </a:prstGeom>
          <a:solidFill>
            <a:srgbClr val="D1E1DB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65A5C94-DEDA-4FEA-97DF-B332A0D6792F}"/>
              </a:ext>
            </a:extLst>
          </p:cNvPr>
          <p:cNvSpPr/>
          <p:nvPr/>
        </p:nvSpPr>
        <p:spPr bwMode="auto">
          <a:xfrm>
            <a:off x="5665990" y="4237949"/>
            <a:ext cx="4738001" cy="1048228"/>
          </a:xfrm>
          <a:prstGeom prst="rect">
            <a:avLst/>
          </a:prstGeom>
          <a:noFill/>
          <a:ln w="19050">
            <a:solidFill>
              <a:schemeClr val="tx2"/>
            </a:solidFill>
            <a:prstDash val="lgDash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7FE87CB-5D4C-4F93-BCC0-C2BC41C12854}"/>
              </a:ext>
            </a:extLst>
          </p:cNvPr>
          <p:cNvSpPr/>
          <p:nvPr/>
        </p:nvSpPr>
        <p:spPr bwMode="auto">
          <a:xfrm>
            <a:off x="8803812" y="4458176"/>
            <a:ext cx="707792" cy="51765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NLP</a:t>
            </a:r>
          </a:p>
        </p:txBody>
      </p:sp>
    </p:spTree>
    <p:extLst>
      <p:ext uri="{BB962C8B-B14F-4D97-AF65-F5344CB8AC3E}">
        <p14:creationId xmlns:p14="http://schemas.microsoft.com/office/powerpoint/2010/main" val="1048758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601A499-F022-2CAB-FC00-3DF684B77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 vert="horz" lIns="0" tIns="0" rIns="0" bIns="10800" rtlCol="0" anchor="b" anchorCtr="0">
            <a:normAutofit/>
          </a:bodyPr>
          <a:lstStyle/>
          <a:p>
            <a:r>
              <a:rPr lang="en-US" baseline="0" dirty="0">
                <a:latin typeface="+mn-lt"/>
                <a:ea typeface="+mj-ea"/>
                <a:cs typeface="+mj-cs"/>
              </a:rPr>
              <a:t>How does NLP work?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D703B41-47E7-63FC-8782-36EC1EC3DE1A}"/>
              </a:ext>
            </a:extLst>
          </p:cNvPr>
          <p:cNvSpPr txBox="1"/>
          <p:nvPr/>
        </p:nvSpPr>
        <p:spPr bwMode="auto">
          <a:xfrm>
            <a:off x="2895888" y="4156275"/>
            <a:ext cx="2448169" cy="707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sz="1400" b="1" kern="0" baseline="0" dirty="0">
                <a:latin typeface="+mn-lt"/>
                <a:ea typeface="+mn-ea"/>
                <a:cs typeface="+mn-cs"/>
              </a:rPr>
              <a:t>Exploratory Data Analysis </a:t>
            </a:r>
          </a:p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b="1" kern="0" dirty="0">
                <a:latin typeface="+mn-lt"/>
              </a:rPr>
              <a:t>and</a:t>
            </a:r>
            <a:endParaRPr lang="en-IN" sz="1400" b="1" kern="0" baseline="0" dirty="0">
              <a:latin typeface="+mn-lt"/>
              <a:ea typeface="+mn-ea"/>
              <a:cs typeface="+mn-cs"/>
            </a:endParaRPr>
          </a:p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sz="1400" b="1" kern="0" baseline="0" dirty="0">
                <a:latin typeface="+mn-lt"/>
                <a:ea typeface="+mn-ea"/>
                <a:cs typeface="+mn-cs"/>
              </a:rPr>
              <a:t>Pre-process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03BB73-166C-4E81-8531-C40463D1ACF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93" y="3826556"/>
            <a:ext cx="1440000" cy="14400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4161E65-2BFA-4D2A-BBA2-11874BFAD37D}"/>
              </a:ext>
            </a:extLst>
          </p:cNvPr>
          <p:cNvSpPr/>
          <p:nvPr/>
        </p:nvSpPr>
        <p:spPr>
          <a:xfrm>
            <a:off x="6326937" y="4446992"/>
            <a:ext cx="194114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en-IN" b="1" dirty="0">
                <a:latin typeface="+mn-lt"/>
              </a:rPr>
              <a:t>Neural Network</a:t>
            </a:r>
          </a:p>
          <a:p>
            <a:pPr algn="ctr" eaLnBrk="0" hangingPunct="0"/>
            <a:r>
              <a:rPr lang="en-IN" b="1" dirty="0">
                <a:latin typeface="+mn-lt"/>
              </a:rPr>
              <a:t> Architectures</a:t>
            </a:r>
          </a:p>
        </p:txBody>
      </p:sp>
      <p:pic>
        <p:nvPicPr>
          <p:cNvPr id="43" name="Picture 42" descr="Machine gears">
            <a:extLst>
              <a:ext uri="{FF2B5EF4-FFF2-40B4-BE49-F238E27FC236}">
                <a16:creationId xmlns:a16="http://schemas.microsoft.com/office/drawing/2014/main" id="{71A833D9-FBBA-440B-8E9A-540A558FE23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8288" y="2461628"/>
            <a:ext cx="2350512" cy="1566625"/>
          </a:xfrm>
          <a:prstGeom prst="rect">
            <a:avLst/>
          </a:prstGeom>
          <a:solidFill>
            <a:schemeClr val="lt2"/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A4A4C529-4A67-4FAC-AE2B-C2E2CA3931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3775" y="2542691"/>
            <a:ext cx="2107468" cy="1603866"/>
          </a:xfrm>
          <a:prstGeom prst="rect">
            <a:avLst/>
          </a:prstGeom>
          <a:solidFill>
            <a:schemeClr val="lt2"/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A71AF48B-32A9-44B6-B86B-5F8373EA0987}"/>
              </a:ext>
            </a:extLst>
          </p:cNvPr>
          <p:cNvSpPr txBox="1"/>
          <p:nvPr/>
        </p:nvSpPr>
        <p:spPr bwMode="auto">
          <a:xfrm>
            <a:off x="435299" y="5546277"/>
            <a:ext cx="1740073" cy="354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sz="1400" b="1" kern="0" baseline="0" dirty="0">
                <a:latin typeface="+mn-lt"/>
              </a:rPr>
              <a:t>Textual </a:t>
            </a:r>
            <a:r>
              <a:rPr lang="en-IN" b="1" kern="0" dirty="0">
                <a:latin typeface="+mn-lt"/>
              </a:rPr>
              <a:t>/ Speech Data</a:t>
            </a:r>
            <a:endParaRPr lang="en-IN" sz="1400" b="1" kern="0" baseline="0" dirty="0">
              <a:latin typeface="+mn-lt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7FE85468-BF93-467B-B5F8-04DE4CB6B4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3266" y="1570193"/>
            <a:ext cx="1615580" cy="120711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DAFD66F8-3CE7-4752-8C7B-4D0673991A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1722" y="4663000"/>
            <a:ext cx="1621677" cy="120711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6038F1A6-91FE-4EE1-9FAD-6C39BD5532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1722" y="3126949"/>
            <a:ext cx="1615580" cy="120101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FFAB7C27-1F3D-4760-931F-466832352901}"/>
              </a:ext>
            </a:extLst>
          </p:cNvPr>
          <p:cNvSpPr/>
          <p:nvPr/>
        </p:nvSpPr>
        <p:spPr>
          <a:xfrm rot="5400000">
            <a:off x="9306187" y="3480759"/>
            <a:ext cx="44644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en-IN" sz="2000" dirty="0">
                <a:latin typeface="+mn-lt"/>
              </a:rPr>
              <a:t>Application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C413A8-8EC7-46F4-930F-67FE92FCB1FE}"/>
              </a:ext>
            </a:extLst>
          </p:cNvPr>
          <p:cNvSpPr/>
          <p:nvPr/>
        </p:nvSpPr>
        <p:spPr>
          <a:xfrm>
            <a:off x="9397237" y="6037250"/>
            <a:ext cx="194114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en-IN" b="1" dirty="0">
                <a:latin typeface="+mn-lt"/>
              </a:rPr>
              <a:t>Outputs</a:t>
            </a:r>
          </a:p>
        </p:txBody>
      </p:sp>
      <p:sp>
        <p:nvSpPr>
          <p:cNvPr id="67" name="Arrow: Right 66">
            <a:extLst>
              <a:ext uri="{FF2B5EF4-FFF2-40B4-BE49-F238E27FC236}">
                <a16:creationId xmlns:a16="http://schemas.microsoft.com/office/drawing/2014/main" id="{5B39B410-1802-405C-A010-5F2909B17ADA}"/>
              </a:ext>
            </a:extLst>
          </p:cNvPr>
          <p:cNvSpPr/>
          <p:nvPr/>
        </p:nvSpPr>
        <p:spPr bwMode="auto">
          <a:xfrm>
            <a:off x="5449628" y="3079141"/>
            <a:ext cx="592165" cy="450291"/>
          </a:xfrm>
          <a:prstGeom prst="rightArrow">
            <a:avLst>
              <a:gd name="adj1" fmla="val 50000"/>
              <a:gd name="adj2" fmla="val 67806"/>
            </a:avLst>
          </a:prstGeom>
          <a:solidFill>
            <a:srgbClr val="D1E1DB"/>
          </a:solidFill>
          <a:ln w="19050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68" name="Arrow: Right 67">
            <a:extLst>
              <a:ext uri="{FF2B5EF4-FFF2-40B4-BE49-F238E27FC236}">
                <a16:creationId xmlns:a16="http://schemas.microsoft.com/office/drawing/2014/main" id="{D1B77FAF-D13F-4B99-956E-0525E3CF94A8}"/>
              </a:ext>
            </a:extLst>
          </p:cNvPr>
          <p:cNvSpPr/>
          <p:nvPr/>
        </p:nvSpPr>
        <p:spPr bwMode="auto">
          <a:xfrm>
            <a:off x="8609456" y="3079140"/>
            <a:ext cx="592165" cy="450291"/>
          </a:xfrm>
          <a:prstGeom prst="rightArrow">
            <a:avLst>
              <a:gd name="adj1" fmla="val 50000"/>
              <a:gd name="adj2" fmla="val 67806"/>
            </a:avLst>
          </a:prstGeom>
          <a:solidFill>
            <a:srgbClr val="D1E1DB"/>
          </a:solidFill>
          <a:ln w="19050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69" name="Arrow: Right 68">
            <a:extLst>
              <a:ext uri="{FF2B5EF4-FFF2-40B4-BE49-F238E27FC236}">
                <a16:creationId xmlns:a16="http://schemas.microsoft.com/office/drawing/2014/main" id="{64744C93-9F2A-4EBF-8686-7B82043CAC34}"/>
              </a:ext>
            </a:extLst>
          </p:cNvPr>
          <p:cNvSpPr/>
          <p:nvPr/>
        </p:nvSpPr>
        <p:spPr bwMode="auto">
          <a:xfrm>
            <a:off x="2202339" y="3079141"/>
            <a:ext cx="592165" cy="450291"/>
          </a:xfrm>
          <a:prstGeom prst="rightArrow">
            <a:avLst>
              <a:gd name="adj1" fmla="val 50000"/>
              <a:gd name="adj2" fmla="val 67806"/>
            </a:avLst>
          </a:prstGeom>
          <a:solidFill>
            <a:srgbClr val="D1E1DB"/>
          </a:solidFill>
          <a:ln w="19050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D70E932-B400-402B-A381-AD5E4C97BF84}"/>
              </a:ext>
            </a:extLst>
          </p:cNvPr>
          <p:cNvSpPr txBox="1"/>
          <p:nvPr/>
        </p:nvSpPr>
        <p:spPr bwMode="auto">
          <a:xfrm>
            <a:off x="2884888" y="5258953"/>
            <a:ext cx="3057055" cy="287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867" i="1" kern="0" dirty="0">
                <a:solidFill>
                  <a:srgbClr val="644F54"/>
                </a:solidFill>
                <a:latin typeface="+mn-lt"/>
                <a:ea typeface="Verdana" pitchFamily="34" charset="0"/>
                <a:cs typeface="Arial" panose="020B0604020202020204" pitchFamily="34" charset="0"/>
              </a:rPr>
              <a:t>Let’s discuss this in detail </a:t>
            </a:r>
          </a:p>
        </p:txBody>
      </p:sp>
      <p:sp>
        <p:nvSpPr>
          <p:cNvPr id="72" name="Arrow: Down 71">
            <a:extLst>
              <a:ext uri="{FF2B5EF4-FFF2-40B4-BE49-F238E27FC236}">
                <a16:creationId xmlns:a16="http://schemas.microsoft.com/office/drawing/2014/main" id="{A1C86A63-C8AF-47C9-91FA-7481DA6D2A9D}"/>
              </a:ext>
            </a:extLst>
          </p:cNvPr>
          <p:cNvSpPr/>
          <p:nvPr/>
        </p:nvSpPr>
        <p:spPr bwMode="auto">
          <a:xfrm>
            <a:off x="3971353" y="4994947"/>
            <a:ext cx="244381" cy="250215"/>
          </a:xfrm>
          <a:prstGeom prst="downArrow">
            <a:avLst/>
          </a:prstGeom>
          <a:solidFill>
            <a:srgbClr val="D1C9CA"/>
          </a:solidFill>
          <a:ln w="9525" cap="flat" cmpd="sng" algn="ctr">
            <a:solidFill>
              <a:srgbClr val="644F54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5ACF6258-1CA9-4576-93D0-1BB585450F73}"/>
              </a:ext>
            </a:extLst>
          </p:cNvPr>
          <p:cNvSpPr/>
          <p:nvPr/>
        </p:nvSpPr>
        <p:spPr bwMode="auto">
          <a:xfrm>
            <a:off x="2422474" y="1661249"/>
            <a:ext cx="3369083" cy="3242743"/>
          </a:xfrm>
          <a:prstGeom prst="rect">
            <a:avLst/>
          </a:prstGeom>
          <a:noFill/>
          <a:ln w="38100">
            <a:solidFill>
              <a:srgbClr val="C00000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ea typeface="Verdana" pitchFamily="34" charset="0"/>
              <a:cs typeface="Verdana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E2A435A-2848-40AE-9649-81FCF6D2445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451" y="1465229"/>
            <a:ext cx="1440000" cy="14400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824F185-B039-4DF7-90DE-B15D055C5C5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5393" y="1513524"/>
            <a:ext cx="1312446" cy="132044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D44CFCF-596F-4983-B9CD-BFB75B2FFA3F}"/>
              </a:ext>
            </a:extLst>
          </p:cNvPr>
          <p:cNvSpPr txBox="1"/>
          <p:nvPr/>
        </p:nvSpPr>
        <p:spPr bwMode="auto">
          <a:xfrm>
            <a:off x="10018953" y="6552540"/>
            <a:ext cx="1719538" cy="184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100" kern="0" baseline="0" dirty="0">
                <a:latin typeface="+mn-lt"/>
                <a:ea typeface="+mn-ea"/>
                <a:cs typeface="+mn-cs"/>
                <a:hlinkClick r:id="rId11"/>
              </a:rPr>
              <a:t>[Reference1]</a:t>
            </a:r>
            <a:r>
              <a:rPr lang="en-IN" sz="11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en-IN" sz="1100" kern="0" baseline="0" dirty="0">
                <a:latin typeface="+mn-lt"/>
                <a:ea typeface="+mn-ea"/>
                <a:cs typeface="+mn-cs"/>
                <a:hlinkClick r:id="rId12"/>
              </a:rPr>
              <a:t>[Reference2]</a:t>
            </a:r>
            <a:endParaRPr lang="en-IN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957756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/>
      <p:bldP spid="72" grpId="0" animBg="1"/>
      <p:bldP spid="7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B46847-10F8-4125-A184-B1837A57F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ploratory Data Analysi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37F87D-BA8B-40A6-946E-C29429894D05}"/>
              </a:ext>
            </a:extLst>
          </p:cNvPr>
          <p:cNvSpPr txBox="1"/>
          <p:nvPr/>
        </p:nvSpPr>
        <p:spPr bwMode="auto">
          <a:xfrm>
            <a:off x="365870" y="1268760"/>
            <a:ext cx="4608512" cy="163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just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800" b="1" kern="0" dirty="0">
                <a:solidFill>
                  <a:schemeClr val="tx2"/>
                </a:solidFill>
                <a:latin typeface="+mn-lt"/>
              </a:rPr>
              <a:t>It is the process of examining, visualizing and summarizing textual data to uncover patterns, detect anomalies</a:t>
            </a:r>
            <a:r>
              <a:rPr lang="en-IN" sz="1800" b="1" kern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, and gain insights before applying advanced NLP techniques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05DE4F1D-9521-4BAA-A7B3-B7699CEFFD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7209" y="1124744"/>
            <a:ext cx="6842484" cy="5179328"/>
          </a:xfrm>
          <a:prstGeom prst="rect">
            <a:avLst/>
          </a:prstGeom>
        </p:spPr>
      </p:pic>
      <mc:AlternateContent xmlns:mc="http://schemas.openxmlformats.org/markup-compatibility/2006" xmlns:am3d="http://schemas.microsoft.com/office/drawing/2017/model3d">
        <mc:Choice Requires="am3d">
          <p:graphicFrame>
            <p:nvGraphicFramePr>
              <p:cNvPr id="28" name="3D Model 27" descr="Upward Trend">
                <a:extLst>
                  <a:ext uri="{FF2B5EF4-FFF2-40B4-BE49-F238E27FC236}">
                    <a16:creationId xmlns:a16="http://schemas.microsoft.com/office/drawing/2014/main" id="{7CEF5648-4B31-426D-B23A-5DC19E81B47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269837849"/>
                  </p:ext>
                </p:extLst>
              </p:nvPr>
            </p:nvGraphicFramePr>
            <p:xfrm>
              <a:off x="1343472" y="3429000"/>
              <a:ext cx="2836098" cy="2617000"/>
            </p:xfrm>
            <a:graphic>
              <a:graphicData uri="http://schemas.microsoft.com/office/drawing/2017/model3d">
                <am3d:model3d r:embed="rId3">
                  <am3d:spPr>
                    <a:xfrm>
                      <a:off x="0" y="0"/>
                      <a:ext cx="2836098" cy="2617000"/>
                    </a:xfrm>
                    <a:prstGeom prst="rect">
                      <a:avLst/>
                    </a:prstGeom>
                  </am3d:spPr>
                  <am3d:camera>
                    <am3d:pos x="0" y="0" z="65012918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01711" d="1000000"/>
                    <am3d:preTrans dx="0" dy="-16609428" dz="0"/>
                    <am3d:scale>
                      <am3d:sx n="1000000" d="1000000"/>
                      <am3d:sy n="1000000" d="1000000"/>
                      <am3d:sz n="1000000" d="1000000"/>
                    </am3d:scale>
                    <am3d:rot/>
                    <am3d:postTrans dx="0" dy="0" dz="0"/>
                  </am3d:trans>
                  <am3d:raster rName="Office3DRenderer" rVer="16.0.8326">
                    <am3d:blip r:embed="rId4"/>
                  </am3d:raster>
                  <am3d:objViewport viewportSz="3957701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 xmlns="">
          <p:pic>
            <p:nvPicPr>
              <p:cNvPr id="28" name="3D Model 27" descr="Upward Trend">
                <a:extLst>
                  <a:ext uri="{FF2B5EF4-FFF2-40B4-BE49-F238E27FC236}">
                    <a16:creationId xmlns:a16="http://schemas.microsoft.com/office/drawing/2014/main" id="{7CEF5648-4B31-426D-B23A-5DC19E81B47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343472" y="3429000"/>
                <a:ext cx="2836098" cy="2617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075917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201A87C-5A55-46AF-831F-4C9E99244E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ext Pre-processing Technique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9E6DECA-5F21-4699-BCD3-3054EEB76CEB}"/>
              </a:ext>
            </a:extLst>
          </p:cNvPr>
          <p:cNvSpPr/>
          <p:nvPr/>
        </p:nvSpPr>
        <p:spPr bwMode="auto">
          <a:xfrm>
            <a:off x="551384" y="2141267"/>
            <a:ext cx="1872202" cy="648072"/>
          </a:xfrm>
          <a:prstGeom prst="roundRect">
            <a:avLst/>
          </a:prstGeom>
          <a:noFill/>
          <a:ln w="12700">
            <a:solidFill>
              <a:schemeClr val="tx1"/>
            </a:solidFill>
            <a:prstDash val="sysDash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dirty="0">
                <a:latin typeface="+mn-lt"/>
              </a:rPr>
              <a:t>Normalize</a:t>
            </a:r>
            <a:endParaRPr lang="en-IN" sz="1600" b="1" baseline="0" dirty="0">
              <a:latin typeface="+mn-lt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691A7AE-B909-4618-A778-61F7477485FC}"/>
              </a:ext>
            </a:extLst>
          </p:cNvPr>
          <p:cNvSpPr/>
          <p:nvPr/>
        </p:nvSpPr>
        <p:spPr bwMode="auto">
          <a:xfrm>
            <a:off x="2510347" y="2994429"/>
            <a:ext cx="1976359" cy="648065"/>
          </a:xfrm>
          <a:prstGeom prst="roundRect">
            <a:avLst/>
          </a:prstGeom>
          <a:noFill/>
          <a:ln w="12700">
            <a:solidFill>
              <a:schemeClr val="tx1"/>
            </a:solidFill>
            <a:prstDash val="sysDash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baseline="0" dirty="0">
                <a:latin typeface="+mn-lt"/>
                <a:ea typeface="+mn-ea"/>
                <a:cs typeface="+mn-cs"/>
              </a:rPr>
              <a:t>Tokeniz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3D3ACE7-5CB7-4562-87AB-F4A59CBC5C03}"/>
              </a:ext>
            </a:extLst>
          </p:cNvPr>
          <p:cNvSpPr/>
          <p:nvPr/>
        </p:nvSpPr>
        <p:spPr bwMode="auto">
          <a:xfrm>
            <a:off x="4586926" y="3841412"/>
            <a:ext cx="1922880" cy="703956"/>
          </a:xfrm>
          <a:prstGeom prst="roundRect">
            <a:avLst/>
          </a:prstGeom>
          <a:noFill/>
          <a:ln w="12700">
            <a:solidFill>
              <a:schemeClr val="tx1"/>
            </a:solidFill>
            <a:prstDash val="sysDash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baseline="0" dirty="0">
                <a:latin typeface="+mn-lt"/>
                <a:ea typeface="+mn-ea"/>
                <a:cs typeface="+mn-cs"/>
              </a:rPr>
              <a:t>Remove 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sz="1600" b="1" baseline="0" dirty="0">
                <a:latin typeface="+mn-lt"/>
                <a:ea typeface="+mn-ea"/>
                <a:cs typeface="+mn-cs"/>
              </a:rPr>
              <a:t>Stop Word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A20945C-D44C-4C39-9FF2-36982EF41D59}"/>
              </a:ext>
            </a:extLst>
          </p:cNvPr>
          <p:cNvSpPr/>
          <p:nvPr/>
        </p:nvSpPr>
        <p:spPr bwMode="auto">
          <a:xfrm>
            <a:off x="6744072" y="4710885"/>
            <a:ext cx="1944216" cy="764457"/>
          </a:xfrm>
          <a:prstGeom prst="roundRect">
            <a:avLst/>
          </a:prstGeom>
          <a:noFill/>
          <a:ln w="12700">
            <a:solidFill>
              <a:schemeClr val="tx1"/>
            </a:solidFill>
            <a:prstDash val="sysDash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baseline="0" dirty="0">
                <a:latin typeface="+mn-lt"/>
                <a:ea typeface="+mn-ea"/>
                <a:cs typeface="+mn-cs"/>
              </a:rPr>
              <a:t>Stem / 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sz="1600" b="1" dirty="0">
                <a:latin typeface="+mn-lt"/>
              </a:rPr>
              <a:t>Lemmatize</a:t>
            </a:r>
            <a:endParaRPr lang="en-IN" sz="1600" b="1" baseline="0" dirty="0">
              <a:latin typeface="+mn-lt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A2954E2-3694-4AC2-8A9B-97FA6B324858}"/>
              </a:ext>
            </a:extLst>
          </p:cNvPr>
          <p:cNvSpPr/>
          <p:nvPr/>
        </p:nvSpPr>
        <p:spPr bwMode="auto">
          <a:xfrm>
            <a:off x="32811" y="1440598"/>
            <a:ext cx="3960440" cy="360040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baseline="0" dirty="0">
                <a:solidFill>
                  <a:srgbClr val="FF9737"/>
                </a:solidFill>
                <a:latin typeface="+mn-lt"/>
                <a:ea typeface="+mn-ea"/>
                <a:cs typeface="+mn-cs"/>
              </a:rPr>
              <a:t>“Jenna went back to University”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49D7AF6-D5BE-49F3-ABAE-937C32C3BF0E}"/>
              </a:ext>
            </a:extLst>
          </p:cNvPr>
          <p:cNvCxnSpPr/>
          <p:nvPr/>
        </p:nvCxnSpPr>
        <p:spPr>
          <a:xfrm>
            <a:off x="1487485" y="1816878"/>
            <a:ext cx="0" cy="21602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30301418-5E8F-4D83-91AA-C77CF0FCCAB8}"/>
              </a:ext>
            </a:extLst>
          </p:cNvPr>
          <p:cNvCxnSpPr>
            <a:cxnSpLocks/>
          </p:cNvCxnSpPr>
          <p:nvPr/>
        </p:nvCxnSpPr>
        <p:spPr>
          <a:xfrm>
            <a:off x="2510347" y="2465303"/>
            <a:ext cx="27233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331E8A2-83BA-4436-AB48-D44133299754}"/>
              </a:ext>
            </a:extLst>
          </p:cNvPr>
          <p:cNvSpPr/>
          <p:nvPr/>
        </p:nvSpPr>
        <p:spPr bwMode="auto">
          <a:xfrm>
            <a:off x="2812028" y="2277357"/>
            <a:ext cx="3312367" cy="285666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baseline="0" dirty="0">
                <a:solidFill>
                  <a:srgbClr val="F97414"/>
                </a:solidFill>
                <a:latin typeface="+mn-lt"/>
                <a:ea typeface="+mn-ea"/>
                <a:cs typeface="+mn-cs"/>
              </a:rPr>
              <a:t>“jenna went back to university”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A558766-27AD-4A70-B78C-E24DC3542192}"/>
              </a:ext>
            </a:extLst>
          </p:cNvPr>
          <p:cNvCxnSpPr>
            <a:cxnSpLocks/>
          </p:cNvCxnSpPr>
          <p:nvPr/>
        </p:nvCxnSpPr>
        <p:spPr>
          <a:xfrm>
            <a:off x="3498526" y="2657710"/>
            <a:ext cx="0" cy="26325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704ED0C-A6DB-46BB-AB0B-B7DB316CB882}"/>
              </a:ext>
            </a:extLst>
          </p:cNvPr>
          <p:cNvCxnSpPr>
            <a:cxnSpLocks/>
          </p:cNvCxnSpPr>
          <p:nvPr/>
        </p:nvCxnSpPr>
        <p:spPr>
          <a:xfrm>
            <a:off x="4597220" y="3304629"/>
            <a:ext cx="27233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094FDA9D-C5C9-42F0-B263-5F7ED060DC07}"/>
              </a:ext>
            </a:extLst>
          </p:cNvPr>
          <p:cNvSpPr/>
          <p:nvPr/>
        </p:nvSpPr>
        <p:spPr bwMode="auto">
          <a:xfrm>
            <a:off x="4865340" y="3097521"/>
            <a:ext cx="4472525" cy="325091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baseline="0" dirty="0">
                <a:solidFill>
                  <a:srgbClr val="BE3283"/>
                </a:solidFill>
                <a:latin typeface="+mn-lt"/>
                <a:ea typeface="+mn-ea"/>
                <a:cs typeface="+mn-cs"/>
              </a:rPr>
              <a:t>&lt;“jenna”, “went”, “back”, “to”, “university&gt;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86E7E75-3B82-4F6B-A2D5-3367C10D1CF0}"/>
              </a:ext>
            </a:extLst>
          </p:cNvPr>
          <p:cNvCxnSpPr>
            <a:cxnSpLocks/>
          </p:cNvCxnSpPr>
          <p:nvPr/>
        </p:nvCxnSpPr>
        <p:spPr>
          <a:xfrm>
            <a:off x="5542053" y="3518610"/>
            <a:ext cx="0" cy="24776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D7E57D6-C410-4805-9569-1A765368DA6D}"/>
              </a:ext>
            </a:extLst>
          </p:cNvPr>
          <p:cNvSpPr/>
          <p:nvPr/>
        </p:nvSpPr>
        <p:spPr bwMode="auto">
          <a:xfrm>
            <a:off x="6851036" y="3972236"/>
            <a:ext cx="3204356" cy="325090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baseline="0" dirty="0">
                <a:solidFill>
                  <a:srgbClr val="BE3283"/>
                </a:solidFill>
                <a:latin typeface="+mn-lt"/>
                <a:ea typeface="+mn-ea"/>
                <a:cs typeface="+mn-cs"/>
              </a:rPr>
              <a:t>&lt;“jenna”, “went”, “university&gt;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C0AD1E6-4CD5-4BAC-BCF1-85AFCDD1292B}"/>
              </a:ext>
            </a:extLst>
          </p:cNvPr>
          <p:cNvCxnSpPr>
            <a:cxnSpLocks/>
          </p:cNvCxnSpPr>
          <p:nvPr/>
        </p:nvCxnSpPr>
        <p:spPr>
          <a:xfrm>
            <a:off x="6578699" y="4134781"/>
            <a:ext cx="27233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987ECF7-EF5B-493A-AA44-09C86FA90CBF}"/>
              </a:ext>
            </a:extLst>
          </p:cNvPr>
          <p:cNvCxnSpPr>
            <a:cxnSpLocks/>
          </p:cNvCxnSpPr>
          <p:nvPr/>
        </p:nvCxnSpPr>
        <p:spPr>
          <a:xfrm>
            <a:off x="7716180" y="4421485"/>
            <a:ext cx="0" cy="24776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9BDD5E77-D5A4-4D70-AB12-C3B46D00FFD3}"/>
              </a:ext>
            </a:extLst>
          </p:cNvPr>
          <p:cNvCxnSpPr>
            <a:cxnSpLocks/>
          </p:cNvCxnSpPr>
          <p:nvPr/>
        </p:nvCxnSpPr>
        <p:spPr>
          <a:xfrm>
            <a:off x="8760296" y="5064968"/>
            <a:ext cx="27233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615BB9DD-061D-4239-AB0D-F1DBA7684C50}"/>
              </a:ext>
            </a:extLst>
          </p:cNvPr>
          <p:cNvSpPr/>
          <p:nvPr/>
        </p:nvSpPr>
        <p:spPr bwMode="auto">
          <a:xfrm>
            <a:off x="8996350" y="4902423"/>
            <a:ext cx="3204356" cy="325090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baseline="0" dirty="0">
                <a:solidFill>
                  <a:srgbClr val="0A8276"/>
                </a:solidFill>
                <a:latin typeface="+mn-lt"/>
                <a:ea typeface="+mn-ea"/>
                <a:cs typeface="+mn-cs"/>
              </a:rPr>
              <a:t>&lt;“jenna”, “went”, “university&gt;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62419B2B-DAF7-44CC-9FCD-CB4E11F2BAC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78402" y="3715955"/>
            <a:ext cx="2778419" cy="270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8767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601A499-F022-2CAB-FC00-3DF684B77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 vert="horz" lIns="0" tIns="0" rIns="0" bIns="10800" rtlCol="0" anchor="b" anchorCtr="0">
            <a:normAutofit/>
          </a:bodyPr>
          <a:lstStyle/>
          <a:p>
            <a:r>
              <a:rPr lang="en-US" baseline="0" dirty="0">
                <a:latin typeface="+mn-lt"/>
                <a:ea typeface="+mj-ea"/>
                <a:cs typeface="+mj-cs"/>
              </a:rPr>
              <a:t>How does NLP work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03BB73-166C-4E81-8531-C40463D1ACF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82" y="3826556"/>
            <a:ext cx="1440000" cy="14400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4161E65-2BFA-4D2A-BBA2-11874BFAD37D}"/>
              </a:ext>
            </a:extLst>
          </p:cNvPr>
          <p:cNvSpPr/>
          <p:nvPr/>
        </p:nvSpPr>
        <p:spPr>
          <a:xfrm>
            <a:off x="6448326" y="4446992"/>
            <a:ext cx="194114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en-IN" b="1" dirty="0">
                <a:latin typeface="+mn-lt"/>
              </a:rPr>
              <a:t>Neural Network</a:t>
            </a:r>
          </a:p>
          <a:p>
            <a:pPr algn="ctr" eaLnBrk="0" hangingPunct="0"/>
            <a:r>
              <a:rPr lang="en-IN" b="1" dirty="0">
                <a:latin typeface="+mn-lt"/>
              </a:rPr>
              <a:t> Architectures</a:t>
            </a:r>
          </a:p>
        </p:txBody>
      </p:sp>
      <p:pic>
        <p:nvPicPr>
          <p:cNvPr id="43" name="Picture 42" descr="Machine gears">
            <a:extLst>
              <a:ext uri="{FF2B5EF4-FFF2-40B4-BE49-F238E27FC236}">
                <a16:creationId xmlns:a16="http://schemas.microsoft.com/office/drawing/2014/main" id="{71A833D9-FBBA-440B-8E9A-540A558FE23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9677" y="2461628"/>
            <a:ext cx="2350512" cy="1566625"/>
          </a:xfrm>
          <a:prstGeom prst="rect">
            <a:avLst/>
          </a:prstGeom>
          <a:solidFill>
            <a:schemeClr val="lt2"/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A4A4C529-4A67-4FAC-AE2B-C2E2CA3931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164" y="2542691"/>
            <a:ext cx="2107468" cy="1603866"/>
          </a:xfrm>
          <a:prstGeom prst="rect">
            <a:avLst/>
          </a:prstGeom>
          <a:solidFill>
            <a:schemeClr val="lt2"/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A71AF48B-32A9-44B6-B86B-5F8373EA0987}"/>
              </a:ext>
            </a:extLst>
          </p:cNvPr>
          <p:cNvSpPr txBox="1"/>
          <p:nvPr/>
        </p:nvSpPr>
        <p:spPr bwMode="auto">
          <a:xfrm>
            <a:off x="556688" y="5546277"/>
            <a:ext cx="1740073" cy="354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sz="1400" b="1" kern="0" baseline="0" dirty="0">
                <a:latin typeface="+mn-lt"/>
              </a:rPr>
              <a:t>Textual </a:t>
            </a:r>
            <a:r>
              <a:rPr lang="en-IN" b="1" kern="0" dirty="0">
                <a:latin typeface="+mn-lt"/>
              </a:rPr>
              <a:t>/ Speech Data</a:t>
            </a:r>
            <a:endParaRPr lang="en-IN" sz="1400" b="1" kern="0" baseline="0" dirty="0">
              <a:latin typeface="+mn-lt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7FE85468-BF93-467B-B5F8-04DE4CB6B4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4655" y="1570193"/>
            <a:ext cx="1615580" cy="120711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DAFD66F8-3CE7-4752-8C7B-4D0673991A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3111" y="4663000"/>
            <a:ext cx="1621677" cy="120711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6038F1A6-91FE-4EE1-9FAD-6C39BD5532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3111" y="3126949"/>
            <a:ext cx="1615580" cy="120101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FFAB7C27-1F3D-4760-931F-466832352901}"/>
              </a:ext>
            </a:extLst>
          </p:cNvPr>
          <p:cNvSpPr/>
          <p:nvPr/>
        </p:nvSpPr>
        <p:spPr>
          <a:xfrm rot="5400000">
            <a:off x="9427576" y="3480759"/>
            <a:ext cx="44644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en-IN" sz="2000" dirty="0">
                <a:latin typeface="+mn-lt"/>
              </a:rPr>
              <a:t>Application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C413A8-8EC7-46F4-930F-67FE92FCB1FE}"/>
              </a:ext>
            </a:extLst>
          </p:cNvPr>
          <p:cNvSpPr/>
          <p:nvPr/>
        </p:nvSpPr>
        <p:spPr>
          <a:xfrm>
            <a:off x="9518626" y="6037250"/>
            <a:ext cx="194114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en-IN" b="1" dirty="0">
                <a:latin typeface="+mn-lt"/>
              </a:rPr>
              <a:t>Outputs</a:t>
            </a:r>
          </a:p>
        </p:txBody>
      </p:sp>
      <p:sp>
        <p:nvSpPr>
          <p:cNvPr id="67" name="Arrow: Right 66">
            <a:extLst>
              <a:ext uri="{FF2B5EF4-FFF2-40B4-BE49-F238E27FC236}">
                <a16:creationId xmlns:a16="http://schemas.microsoft.com/office/drawing/2014/main" id="{5B39B410-1802-405C-A010-5F2909B17ADA}"/>
              </a:ext>
            </a:extLst>
          </p:cNvPr>
          <p:cNvSpPr/>
          <p:nvPr/>
        </p:nvSpPr>
        <p:spPr bwMode="auto">
          <a:xfrm>
            <a:off x="5571017" y="3079141"/>
            <a:ext cx="592165" cy="450291"/>
          </a:xfrm>
          <a:prstGeom prst="rightArrow">
            <a:avLst>
              <a:gd name="adj1" fmla="val 50000"/>
              <a:gd name="adj2" fmla="val 67806"/>
            </a:avLst>
          </a:prstGeom>
          <a:solidFill>
            <a:srgbClr val="D1E1DB"/>
          </a:solidFill>
          <a:ln w="19050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68" name="Arrow: Right 67">
            <a:extLst>
              <a:ext uri="{FF2B5EF4-FFF2-40B4-BE49-F238E27FC236}">
                <a16:creationId xmlns:a16="http://schemas.microsoft.com/office/drawing/2014/main" id="{D1B77FAF-D13F-4B99-956E-0525E3CF94A8}"/>
              </a:ext>
            </a:extLst>
          </p:cNvPr>
          <p:cNvSpPr/>
          <p:nvPr/>
        </p:nvSpPr>
        <p:spPr bwMode="auto">
          <a:xfrm>
            <a:off x="8730845" y="3079140"/>
            <a:ext cx="592165" cy="450291"/>
          </a:xfrm>
          <a:prstGeom prst="rightArrow">
            <a:avLst>
              <a:gd name="adj1" fmla="val 50000"/>
              <a:gd name="adj2" fmla="val 67806"/>
            </a:avLst>
          </a:prstGeom>
          <a:solidFill>
            <a:srgbClr val="D1E1DB"/>
          </a:solidFill>
          <a:ln w="19050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69" name="Arrow: Right 68">
            <a:extLst>
              <a:ext uri="{FF2B5EF4-FFF2-40B4-BE49-F238E27FC236}">
                <a16:creationId xmlns:a16="http://schemas.microsoft.com/office/drawing/2014/main" id="{64744C93-9F2A-4EBF-8686-7B82043CAC34}"/>
              </a:ext>
            </a:extLst>
          </p:cNvPr>
          <p:cNvSpPr/>
          <p:nvPr/>
        </p:nvSpPr>
        <p:spPr bwMode="auto">
          <a:xfrm>
            <a:off x="2323728" y="3079141"/>
            <a:ext cx="592165" cy="450291"/>
          </a:xfrm>
          <a:prstGeom prst="rightArrow">
            <a:avLst>
              <a:gd name="adj1" fmla="val 50000"/>
              <a:gd name="adj2" fmla="val 67806"/>
            </a:avLst>
          </a:prstGeom>
          <a:solidFill>
            <a:srgbClr val="D1E1DB"/>
          </a:solidFill>
          <a:ln w="19050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D70E932-B400-402B-A381-AD5E4C97BF84}"/>
              </a:ext>
            </a:extLst>
          </p:cNvPr>
          <p:cNvSpPr txBox="1"/>
          <p:nvPr/>
        </p:nvSpPr>
        <p:spPr bwMode="auto">
          <a:xfrm>
            <a:off x="6184479" y="5432276"/>
            <a:ext cx="3057055" cy="287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867" i="1" kern="0" dirty="0">
                <a:solidFill>
                  <a:srgbClr val="644F54"/>
                </a:solidFill>
                <a:latin typeface="+mn-lt"/>
                <a:ea typeface="Verdana" pitchFamily="34" charset="0"/>
                <a:cs typeface="Arial" panose="020B0604020202020204" pitchFamily="34" charset="0"/>
              </a:rPr>
              <a:t>Let’s discuss this in detail </a:t>
            </a:r>
          </a:p>
        </p:txBody>
      </p:sp>
      <p:sp>
        <p:nvSpPr>
          <p:cNvPr id="72" name="Arrow: Down 71">
            <a:extLst>
              <a:ext uri="{FF2B5EF4-FFF2-40B4-BE49-F238E27FC236}">
                <a16:creationId xmlns:a16="http://schemas.microsoft.com/office/drawing/2014/main" id="{A1C86A63-C8AF-47C9-91FA-7481DA6D2A9D}"/>
              </a:ext>
            </a:extLst>
          </p:cNvPr>
          <p:cNvSpPr/>
          <p:nvPr/>
        </p:nvSpPr>
        <p:spPr bwMode="auto">
          <a:xfrm>
            <a:off x="7270944" y="5138609"/>
            <a:ext cx="244381" cy="250215"/>
          </a:xfrm>
          <a:prstGeom prst="downArrow">
            <a:avLst/>
          </a:prstGeom>
          <a:solidFill>
            <a:srgbClr val="D1C9CA"/>
          </a:solidFill>
          <a:ln w="9525" cap="flat" cmpd="sng" algn="ctr">
            <a:solidFill>
              <a:srgbClr val="644F54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5ACF6258-1CA9-4576-93D0-1BB585450F73}"/>
              </a:ext>
            </a:extLst>
          </p:cNvPr>
          <p:cNvSpPr/>
          <p:nvPr/>
        </p:nvSpPr>
        <p:spPr bwMode="auto">
          <a:xfrm>
            <a:off x="5722065" y="1804911"/>
            <a:ext cx="3369083" cy="3242743"/>
          </a:xfrm>
          <a:prstGeom prst="rect">
            <a:avLst/>
          </a:prstGeom>
          <a:noFill/>
          <a:ln w="38100">
            <a:solidFill>
              <a:srgbClr val="C00000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910E9D2-581D-4A0E-980A-DB9FE4CDAE3F}"/>
              </a:ext>
            </a:extLst>
          </p:cNvPr>
          <p:cNvSpPr txBox="1"/>
          <p:nvPr/>
        </p:nvSpPr>
        <p:spPr bwMode="auto">
          <a:xfrm>
            <a:off x="9699640" y="6538822"/>
            <a:ext cx="2160240" cy="387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IN" sz="1100" kern="0" dirty="0">
                <a:hlinkClick r:id="rId10"/>
              </a:rPr>
              <a:t>[Reference1]</a:t>
            </a:r>
            <a:r>
              <a:rPr lang="en-IN" sz="1100" kern="0" dirty="0"/>
              <a:t> </a:t>
            </a:r>
            <a:r>
              <a:rPr lang="en-IN" sz="1100" kern="0" dirty="0">
                <a:hlinkClick r:id="rId11"/>
              </a:rPr>
              <a:t>[Reference2]</a:t>
            </a:r>
            <a:endParaRPr lang="en-IN" sz="1800" kern="0" dirty="0"/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endParaRPr lang="en-IN" sz="11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6823754-BAB1-49DF-9BDE-10B0F54D0CEC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82" y="1503307"/>
            <a:ext cx="1440000" cy="14400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AB1F0C8-D2B2-4115-8BDB-737823B4615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70857" y="1521290"/>
            <a:ext cx="1312446" cy="132044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36A6040-4A21-449A-9104-5D3869BDF946}"/>
              </a:ext>
            </a:extLst>
          </p:cNvPr>
          <p:cNvSpPr txBox="1"/>
          <p:nvPr/>
        </p:nvSpPr>
        <p:spPr bwMode="auto">
          <a:xfrm>
            <a:off x="2990848" y="4327965"/>
            <a:ext cx="2448169" cy="707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sz="1400" b="1" kern="0" baseline="0" dirty="0">
                <a:latin typeface="+mn-lt"/>
                <a:ea typeface="+mn-ea"/>
                <a:cs typeface="+mn-cs"/>
              </a:rPr>
              <a:t>Exploratory Data Analysis </a:t>
            </a:r>
          </a:p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b="1" kern="0" dirty="0">
                <a:latin typeface="+mn-lt"/>
              </a:rPr>
              <a:t>and</a:t>
            </a:r>
            <a:endParaRPr lang="en-IN" sz="1400" b="1" kern="0" baseline="0" dirty="0">
              <a:latin typeface="+mn-lt"/>
              <a:ea typeface="+mn-ea"/>
              <a:cs typeface="+mn-cs"/>
            </a:endParaRPr>
          </a:p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sz="1400" b="1" kern="0" baseline="0" dirty="0">
                <a:latin typeface="+mn-lt"/>
                <a:ea typeface="+mn-ea"/>
                <a:cs typeface="+mn-cs"/>
              </a:rPr>
              <a:t>Pre-processing</a:t>
            </a:r>
          </a:p>
        </p:txBody>
      </p:sp>
    </p:spTree>
    <p:extLst>
      <p:ext uri="{BB962C8B-B14F-4D97-AF65-F5344CB8AC3E}">
        <p14:creationId xmlns:p14="http://schemas.microsoft.com/office/powerpoint/2010/main" val="295179649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/>
      <p:bldP spid="72" grpId="0" animBg="1"/>
      <p:bldP spid="7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1D25F-495A-4195-96F7-B6D54E5C3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Neural Networks and its Working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8A61535-5705-4332-99C2-1A2A494113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3462343" y="2636912"/>
            <a:ext cx="5389128" cy="352839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3B9711B-07DA-40E7-899D-AC84B7366B81}"/>
              </a:ext>
            </a:extLst>
          </p:cNvPr>
          <p:cNvSpPr txBox="1"/>
          <p:nvPr/>
        </p:nvSpPr>
        <p:spPr bwMode="auto">
          <a:xfrm>
            <a:off x="10416480" y="6453336"/>
            <a:ext cx="1008112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kern="0" baseline="0" dirty="0">
                <a:latin typeface="+mn-lt"/>
                <a:ea typeface="+mn-ea"/>
                <a:cs typeface="+mn-cs"/>
                <a:hlinkClick r:id="rId4"/>
              </a:rPr>
              <a:t>[Reference]</a:t>
            </a:r>
            <a:endParaRPr lang="en-IN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9968404-12BB-4356-84D5-BAD53950C5AF}"/>
              </a:ext>
            </a:extLst>
          </p:cNvPr>
          <p:cNvSpPr/>
          <p:nvPr/>
        </p:nvSpPr>
        <p:spPr bwMode="auto">
          <a:xfrm>
            <a:off x="1152491" y="1961712"/>
            <a:ext cx="2880320" cy="81767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en-IN" b="1" dirty="0">
                <a:solidFill>
                  <a:srgbClr val="9C216E"/>
                </a:solidFill>
                <a:latin typeface="+mn-lt"/>
              </a:rPr>
              <a:t>Neurons</a:t>
            </a:r>
            <a:r>
              <a:rPr lang="en-IN" dirty="0">
                <a:solidFill>
                  <a:srgbClr val="9C216E"/>
                </a:solidFill>
                <a:latin typeface="+mn-lt"/>
              </a:rPr>
              <a:t> in NN’s tend to have fewer connections than biological neurons.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54C5588-F48A-492E-B3BA-9CF8411B901D}"/>
              </a:ext>
            </a:extLst>
          </p:cNvPr>
          <p:cNvSpPr/>
          <p:nvPr/>
        </p:nvSpPr>
        <p:spPr bwMode="auto">
          <a:xfrm>
            <a:off x="4259796" y="1302611"/>
            <a:ext cx="3492388" cy="974261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en-IN" b="1" dirty="0">
                <a:solidFill>
                  <a:srgbClr val="9C216E"/>
                </a:solidFill>
                <a:latin typeface="+mn-lt"/>
              </a:rPr>
              <a:t>Neural Network </a:t>
            </a:r>
            <a:r>
              <a:rPr lang="en-IN" dirty="0">
                <a:solidFill>
                  <a:srgbClr val="9C216E"/>
                </a:solidFill>
                <a:latin typeface="+mn-lt"/>
              </a:rPr>
              <a:t>is a machine learning approach that models the human brain &amp; consists of a number of artificial neuron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CFE5788-E971-4EA5-A6BC-A3526A2CEC01}"/>
              </a:ext>
            </a:extLst>
          </p:cNvPr>
          <p:cNvSpPr/>
          <p:nvPr/>
        </p:nvSpPr>
        <p:spPr bwMode="auto">
          <a:xfrm>
            <a:off x="570141" y="5085184"/>
            <a:ext cx="2439888" cy="602448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en-IN" dirty="0">
                <a:solidFill>
                  <a:srgbClr val="9C216E"/>
                </a:solidFill>
                <a:latin typeface="+mn-lt"/>
              </a:rPr>
              <a:t>Each </a:t>
            </a:r>
            <a:r>
              <a:rPr lang="en-IN" b="1" dirty="0">
                <a:solidFill>
                  <a:srgbClr val="9C216E"/>
                </a:solidFill>
                <a:latin typeface="+mn-lt"/>
              </a:rPr>
              <a:t>Neuron</a:t>
            </a:r>
            <a:r>
              <a:rPr lang="en-IN" dirty="0">
                <a:solidFill>
                  <a:srgbClr val="9C216E"/>
                </a:solidFill>
                <a:latin typeface="+mn-lt"/>
              </a:rPr>
              <a:t> in NN receives a  number of input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4C737FA-A5CF-4649-915A-E3E1E45ABFF4}"/>
              </a:ext>
            </a:extLst>
          </p:cNvPr>
          <p:cNvSpPr/>
          <p:nvPr/>
        </p:nvSpPr>
        <p:spPr bwMode="auto">
          <a:xfrm>
            <a:off x="528232" y="3429000"/>
            <a:ext cx="2725931" cy="972108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en-IN" dirty="0">
                <a:solidFill>
                  <a:srgbClr val="9C216E"/>
                </a:solidFill>
                <a:latin typeface="+mn-lt"/>
              </a:rPr>
              <a:t>An </a:t>
            </a:r>
            <a:r>
              <a:rPr lang="en-IN" b="1" dirty="0">
                <a:solidFill>
                  <a:srgbClr val="9C216E"/>
                </a:solidFill>
                <a:latin typeface="+mn-lt"/>
              </a:rPr>
              <a:t>Activation function </a:t>
            </a:r>
            <a:r>
              <a:rPr lang="en-IN" dirty="0">
                <a:solidFill>
                  <a:srgbClr val="9C216E"/>
                </a:solidFill>
                <a:latin typeface="+mn-lt"/>
              </a:rPr>
              <a:t>is applied  to these inputs, which result in the activation level of the neuron.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5848AF8-C5D6-4CEE-A1DA-360A918ECA68}"/>
              </a:ext>
            </a:extLst>
          </p:cNvPr>
          <p:cNvSpPr/>
          <p:nvPr/>
        </p:nvSpPr>
        <p:spPr bwMode="auto">
          <a:xfrm>
            <a:off x="8206154" y="1948559"/>
            <a:ext cx="2952328" cy="788354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en-IN" b="1" dirty="0">
                <a:solidFill>
                  <a:srgbClr val="9C216E"/>
                </a:solidFill>
                <a:latin typeface="+mn-lt"/>
              </a:rPr>
              <a:t>Knowledge</a:t>
            </a:r>
            <a:r>
              <a:rPr lang="en-IN" dirty="0">
                <a:solidFill>
                  <a:srgbClr val="9C216E"/>
                </a:solidFill>
                <a:latin typeface="+mn-lt"/>
              </a:rPr>
              <a:t> about the learning task is given in the form of examples called training example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14D6E873-1A22-4839-B418-51C6212915FF}"/>
              </a:ext>
            </a:extLst>
          </p:cNvPr>
          <p:cNvSpPr/>
          <p:nvPr/>
        </p:nvSpPr>
        <p:spPr bwMode="auto">
          <a:xfrm>
            <a:off x="9059652" y="3429000"/>
            <a:ext cx="3132348" cy="1085191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en-IN" b="1" dirty="0">
                <a:solidFill>
                  <a:srgbClr val="9C216E"/>
                </a:solidFill>
                <a:latin typeface="+mn-lt"/>
              </a:rPr>
              <a:t>Hidden Layers</a:t>
            </a:r>
            <a:r>
              <a:rPr lang="en-IN" dirty="0">
                <a:solidFill>
                  <a:srgbClr val="9C216E"/>
                </a:solidFill>
                <a:latin typeface="+mn-lt"/>
              </a:rPr>
              <a:t> which sits between the input and output layer, is responsible for learning complex patterns and relationships in data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F6CDE6A5-BC77-4F2A-952A-C998A99DD032}"/>
              </a:ext>
            </a:extLst>
          </p:cNvPr>
          <p:cNvSpPr/>
          <p:nvPr/>
        </p:nvSpPr>
        <p:spPr bwMode="auto">
          <a:xfrm>
            <a:off x="8887425" y="5089669"/>
            <a:ext cx="3199301" cy="842889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en-IN" b="1" dirty="0">
                <a:solidFill>
                  <a:srgbClr val="9C216E"/>
                </a:solidFill>
                <a:latin typeface="+mn-lt"/>
              </a:rPr>
              <a:t>Weights and Bias </a:t>
            </a:r>
            <a:r>
              <a:rPr lang="en-IN" dirty="0">
                <a:solidFill>
                  <a:srgbClr val="9C216E"/>
                </a:solidFill>
                <a:latin typeface="+mn-lt"/>
              </a:rPr>
              <a:t>are the parameters that help the network process data and produce accurate outputs.</a:t>
            </a:r>
          </a:p>
        </p:txBody>
      </p:sp>
    </p:spTree>
    <p:extLst>
      <p:ext uri="{BB962C8B-B14F-4D97-AF65-F5344CB8AC3E}">
        <p14:creationId xmlns:p14="http://schemas.microsoft.com/office/powerpoint/2010/main" val="30068352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8D4E617-3D9C-4C0A-9D5F-BA4825FBDE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2982543-7FC1-4D66-A1E2-B4B3EF278F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/>
              <a:t>Date: </a:t>
            </a:r>
            <a:r>
              <a:rPr lang="en-US" sz="2000" dirty="0">
                <a:ea typeface="Verdana" pitchFamily="34" charset="0"/>
                <a:cs typeface="Arial" panose="020B0604020202020204" pitchFamily="34" charset="0"/>
              </a:rPr>
              <a:t>9</a:t>
            </a:r>
            <a:r>
              <a:rPr lang="en-US" sz="2000" baseline="30000" dirty="0">
                <a:ea typeface="Verdana" pitchFamily="34" charset="0"/>
                <a:cs typeface="Arial" panose="020B0604020202020204" pitchFamily="34" charset="0"/>
              </a:rPr>
              <a:t>th</a:t>
            </a:r>
            <a:r>
              <a:rPr lang="en-US" sz="2000" dirty="0">
                <a:ea typeface="Verdana" pitchFamily="34" charset="0"/>
                <a:cs typeface="Arial" panose="020B0604020202020204" pitchFamily="34" charset="0"/>
              </a:rPr>
              <a:t> February </a:t>
            </a:r>
            <a:r>
              <a:rPr lang="en-US" sz="2000" dirty="0"/>
              <a:t>(4-5 Hours)</a:t>
            </a:r>
            <a:endParaRPr lang="en-IN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69ED6C-9433-4F15-BB58-ABB3610803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AY 1: Bootcamp 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0DCC8B-CF88-46B1-9F3C-37EFDDC9C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8912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6D6F3-AADC-473D-B202-BFADE936E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Deep Neural Network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AFBC31-2963-482B-9688-39AC144116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341745" y="944415"/>
            <a:ext cx="9005049" cy="54686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AF08696-4B6D-4406-BB39-162043C23E50}"/>
              </a:ext>
            </a:extLst>
          </p:cNvPr>
          <p:cNvSpPr txBox="1"/>
          <p:nvPr/>
        </p:nvSpPr>
        <p:spPr bwMode="auto">
          <a:xfrm>
            <a:off x="10848528" y="6574623"/>
            <a:ext cx="1225863" cy="201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200" kern="0" baseline="0" dirty="0">
                <a:latin typeface="+mn-lt"/>
                <a:ea typeface="+mn-ea"/>
                <a:cs typeface="+mn-cs"/>
                <a:hlinkClick r:id="rId4"/>
              </a:rPr>
              <a:t>[Reference]</a:t>
            </a:r>
            <a:endParaRPr lang="en-IN" sz="12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0274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3BA017-537E-4B1A-B7B6-32A097FDF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Neural Network Architectures</a:t>
            </a:r>
          </a:p>
        </p:txBody>
      </p:sp>
      <p:pic>
        <p:nvPicPr>
          <p:cNvPr id="7" name="Graphic 6" descr="Brain">
            <a:extLst>
              <a:ext uri="{FF2B5EF4-FFF2-40B4-BE49-F238E27FC236}">
                <a16:creationId xmlns:a16="http://schemas.microsoft.com/office/drawing/2014/main" id="{F3F9A3A7-3F11-492A-B1B9-5C0A9D4B36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3432" y="2710880"/>
            <a:ext cx="2376264" cy="2376264"/>
          </a:xfrm>
          <a:prstGeom prst="flowChartConnector">
            <a:avLst/>
          </a:prstGeom>
        </p:spPr>
      </p:pic>
      <p:sp>
        <p:nvSpPr>
          <p:cNvPr id="21" name="Arc 20">
            <a:extLst>
              <a:ext uri="{FF2B5EF4-FFF2-40B4-BE49-F238E27FC236}">
                <a16:creationId xmlns:a16="http://schemas.microsoft.com/office/drawing/2014/main" id="{DDF4D915-DB7F-4080-B3CF-59EB7F057FC0}"/>
              </a:ext>
            </a:extLst>
          </p:cNvPr>
          <p:cNvSpPr/>
          <p:nvPr/>
        </p:nvSpPr>
        <p:spPr>
          <a:xfrm rot="3055056">
            <a:off x="-241204" y="1884787"/>
            <a:ext cx="3972651" cy="4089419"/>
          </a:xfrm>
          <a:prstGeom prst="arc">
            <a:avLst>
              <a:gd name="adj1" fmla="val 13789271"/>
              <a:gd name="adj2" fmla="val 1476189"/>
            </a:avLst>
          </a:prstGeom>
          <a:ln w="76200">
            <a:solidFill>
              <a:schemeClr val="tx1">
                <a:lumMod val="50000"/>
                <a:lumOff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C9F3A09-D92E-45F3-85F5-F5109CC6EC17}"/>
              </a:ext>
            </a:extLst>
          </p:cNvPr>
          <p:cNvCxnSpPr>
            <a:cxnSpLocks/>
            <a:stCxn id="45" idx="7"/>
          </p:cNvCxnSpPr>
          <p:nvPr/>
        </p:nvCxnSpPr>
        <p:spPr>
          <a:xfrm flipV="1">
            <a:off x="3070574" y="1713710"/>
            <a:ext cx="491403" cy="514176"/>
          </a:xfrm>
          <a:prstGeom prst="line">
            <a:avLst/>
          </a:prstGeom>
          <a:ln w="9525">
            <a:solidFill>
              <a:srgbClr val="FF973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EABC6C2-4F58-42CB-AAAD-CAFCA0378590}"/>
              </a:ext>
            </a:extLst>
          </p:cNvPr>
          <p:cNvCxnSpPr/>
          <p:nvPr/>
        </p:nvCxnSpPr>
        <p:spPr>
          <a:xfrm>
            <a:off x="3522078" y="1713710"/>
            <a:ext cx="1494166" cy="0"/>
          </a:xfrm>
          <a:prstGeom prst="line">
            <a:avLst/>
          </a:prstGeom>
          <a:ln w="9525">
            <a:solidFill>
              <a:srgbClr val="FF973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82E442B-CB8E-40A6-AFEA-7319EA891511}"/>
              </a:ext>
            </a:extLst>
          </p:cNvPr>
          <p:cNvSpPr/>
          <p:nvPr/>
        </p:nvSpPr>
        <p:spPr bwMode="auto">
          <a:xfrm>
            <a:off x="5765311" y="2503539"/>
            <a:ext cx="4567012" cy="886940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t"/>
          <a:lstStyle/>
          <a:p>
            <a:pPr defTabSz="576000" eaLnBrk="0" hangingPunct="0">
              <a:lnSpc>
                <a:spcPct val="120000"/>
              </a:lnSpc>
            </a:pPr>
            <a:r>
              <a:rPr lang="en-US" b="1" dirty="0">
                <a:solidFill>
                  <a:srgbClr val="BE3283"/>
                </a:solidFill>
                <a:latin typeface="+mn-lt"/>
              </a:rPr>
              <a:t>Long Short-Term Memory (LSTM) </a:t>
            </a:r>
            <a:r>
              <a:rPr lang="en-US" dirty="0">
                <a:solidFill>
                  <a:srgbClr val="BE3283"/>
                </a:solidFill>
                <a:latin typeface="+mn-lt"/>
              </a:rPr>
              <a:t>is a type of recurrent neural network (RNN) that can process and remember information over multiple time steps</a:t>
            </a:r>
            <a:endParaRPr lang="en-IN" baseline="0" dirty="0">
              <a:solidFill>
                <a:srgbClr val="BE3283"/>
              </a:solidFill>
              <a:latin typeface="+mn-lt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8C127C2-8F8C-463D-A584-6D6345DCC1C6}"/>
              </a:ext>
            </a:extLst>
          </p:cNvPr>
          <p:cNvCxnSpPr>
            <a:cxnSpLocks/>
          </p:cNvCxnSpPr>
          <p:nvPr/>
        </p:nvCxnSpPr>
        <p:spPr>
          <a:xfrm flipV="1">
            <a:off x="3735700" y="2938589"/>
            <a:ext cx="646076" cy="405802"/>
          </a:xfrm>
          <a:prstGeom prst="line">
            <a:avLst/>
          </a:prstGeom>
          <a:ln w="19050">
            <a:solidFill>
              <a:srgbClr val="BE328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D98015A-44D2-4CB4-A387-EAEC943DA1AC}"/>
              </a:ext>
            </a:extLst>
          </p:cNvPr>
          <p:cNvCxnSpPr>
            <a:cxnSpLocks/>
          </p:cNvCxnSpPr>
          <p:nvPr/>
        </p:nvCxnSpPr>
        <p:spPr>
          <a:xfrm flipV="1">
            <a:off x="4381776" y="2946262"/>
            <a:ext cx="1296255" cy="747"/>
          </a:xfrm>
          <a:prstGeom prst="line">
            <a:avLst/>
          </a:prstGeom>
          <a:ln w="19050">
            <a:solidFill>
              <a:srgbClr val="BE328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1BED0261-CBD5-41C5-ABCE-40D9A80C95AE}"/>
              </a:ext>
            </a:extLst>
          </p:cNvPr>
          <p:cNvSpPr/>
          <p:nvPr/>
        </p:nvSpPr>
        <p:spPr bwMode="auto">
          <a:xfrm>
            <a:off x="5481327" y="5411195"/>
            <a:ext cx="4823696" cy="953848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en-US" b="1" dirty="0">
                <a:solidFill>
                  <a:srgbClr val="9BBA43"/>
                </a:solidFill>
              </a:rPr>
              <a:t>Transformers</a:t>
            </a:r>
            <a:r>
              <a:rPr lang="en-US" dirty="0">
                <a:solidFill>
                  <a:srgbClr val="9BBA43"/>
                </a:solidFill>
              </a:rPr>
              <a:t> are neural networks that learn context and understanding through sequential data analysis.</a:t>
            </a:r>
            <a:endParaRPr lang="en-IN" baseline="0" dirty="0">
              <a:solidFill>
                <a:srgbClr val="9BBA43"/>
              </a:solidFill>
              <a:latin typeface="+mn-lt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B3CA867-D2F7-463F-9E50-E4DB04762C46}"/>
              </a:ext>
            </a:extLst>
          </p:cNvPr>
          <p:cNvCxnSpPr>
            <a:cxnSpLocks/>
          </p:cNvCxnSpPr>
          <p:nvPr/>
        </p:nvCxnSpPr>
        <p:spPr>
          <a:xfrm>
            <a:off x="3053713" y="5564408"/>
            <a:ext cx="508264" cy="336197"/>
          </a:xfrm>
          <a:prstGeom prst="line">
            <a:avLst/>
          </a:prstGeom>
          <a:ln w="19050">
            <a:solidFill>
              <a:srgbClr val="9BBA4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8F09A5DD-1F08-430B-8E46-804390CCEF28}"/>
              </a:ext>
            </a:extLst>
          </p:cNvPr>
          <p:cNvCxnSpPr>
            <a:cxnSpLocks/>
          </p:cNvCxnSpPr>
          <p:nvPr/>
        </p:nvCxnSpPr>
        <p:spPr>
          <a:xfrm>
            <a:off x="3561977" y="5900605"/>
            <a:ext cx="1494166" cy="0"/>
          </a:xfrm>
          <a:prstGeom prst="line">
            <a:avLst/>
          </a:prstGeom>
          <a:ln w="19050">
            <a:solidFill>
              <a:srgbClr val="9BBA4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FB44BB32-A402-475D-BFBA-795FFA588772}"/>
              </a:ext>
            </a:extLst>
          </p:cNvPr>
          <p:cNvSpPr/>
          <p:nvPr/>
        </p:nvSpPr>
        <p:spPr bwMode="auto">
          <a:xfrm>
            <a:off x="5723448" y="3972057"/>
            <a:ext cx="5003618" cy="1132233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t"/>
          <a:lstStyle/>
          <a:p>
            <a:pPr defTabSz="576000" eaLnBrk="0" hangingPunct="0">
              <a:lnSpc>
                <a:spcPct val="120000"/>
              </a:lnSpc>
            </a:pPr>
            <a:r>
              <a:rPr lang="en-US" b="1" dirty="0">
                <a:solidFill>
                  <a:srgbClr val="0A8276"/>
                </a:solidFill>
              </a:rPr>
              <a:t>Encoder-decoder</a:t>
            </a:r>
            <a:r>
              <a:rPr lang="en-US" dirty="0">
                <a:solidFill>
                  <a:srgbClr val="0A8276"/>
                </a:solidFill>
              </a:rPr>
              <a:t>  are used to handle sequential data, specifically mapping input sequences to output sequences of different lengths, such as neural machine translation, text summarization, image captioning and speech recognition</a:t>
            </a:r>
            <a:endParaRPr lang="en-IN" baseline="0" dirty="0">
              <a:solidFill>
                <a:srgbClr val="0A8276"/>
              </a:solidFill>
              <a:latin typeface="+mn-lt"/>
            </a:endParaRPr>
          </a:p>
        </p:txBody>
      </p:sp>
      <p:sp>
        <p:nvSpPr>
          <p:cNvPr id="45" name="Flowchart: Connector 44">
            <a:extLst>
              <a:ext uri="{FF2B5EF4-FFF2-40B4-BE49-F238E27FC236}">
                <a16:creationId xmlns:a16="http://schemas.microsoft.com/office/drawing/2014/main" id="{87240E74-C550-4C62-AA21-30A749D003F3}"/>
              </a:ext>
            </a:extLst>
          </p:cNvPr>
          <p:cNvSpPr/>
          <p:nvPr/>
        </p:nvSpPr>
        <p:spPr bwMode="auto">
          <a:xfrm>
            <a:off x="2886186" y="2190974"/>
            <a:ext cx="216024" cy="252053"/>
          </a:xfrm>
          <a:prstGeom prst="flowChartConnector">
            <a:avLst/>
          </a:prstGeom>
          <a:solidFill>
            <a:srgbClr val="F9741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6" name="Flowchart: Connector 45">
            <a:extLst>
              <a:ext uri="{FF2B5EF4-FFF2-40B4-BE49-F238E27FC236}">
                <a16:creationId xmlns:a16="http://schemas.microsoft.com/office/drawing/2014/main" id="{4E3A66D8-CD6F-4A49-BBD2-F2C5B7133E20}"/>
              </a:ext>
            </a:extLst>
          </p:cNvPr>
          <p:cNvSpPr/>
          <p:nvPr/>
        </p:nvSpPr>
        <p:spPr bwMode="auto">
          <a:xfrm>
            <a:off x="4918450" y="1571997"/>
            <a:ext cx="216024" cy="252053"/>
          </a:xfrm>
          <a:prstGeom prst="flowChartConnector">
            <a:avLst/>
          </a:prstGeom>
          <a:solidFill>
            <a:srgbClr val="F9741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Flowchart: Connector 46">
            <a:extLst>
              <a:ext uri="{FF2B5EF4-FFF2-40B4-BE49-F238E27FC236}">
                <a16:creationId xmlns:a16="http://schemas.microsoft.com/office/drawing/2014/main" id="{9285BD9A-AAC3-461E-B459-0B4952FE931F}"/>
              </a:ext>
            </a:extLst>
          </p:cNvPr>
          <p:cNvSpPr/>
          <p:nvPr/>
        </p:nvSpPr>
        <p:spPr bwMode="auto">
          <a:xfrm>
            <a:off x="3600202" y="3228001"/>
            <a:ext cx="216024" cy="252053"/>
          </a:xfrm>
          <a:prstGeom prst="flowChartConnector">
            <a:avLst/>
          </a:prstGeom>
          <a:solidFill>
            <a:srgbClr val="BE3283"/>
          </a:solidFill>
          <a:ln w="9525">
            <a:solidFill>
              <a:srgbClr val="BE3283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8" name="Flowchart: Connector 47">
            <a:extLst>
              <a:ext uri="{FF2B5EF4-FFF2-40B4-BE49-F238E27FC236}">
                <a16:creationId xmlns:a16="http://schemas.microsoft.com/office/drawing/2014/main" id="{79EBD936-3A25-48A6-A04B-289997507BF4}"/>
              </a:ext>
            </a:extLst>
          </p:cNvPr>
          <p:cNvSpPr/>
          <p:nvPr/>
        </p:nvSpPr>
        <p:spPr bwMode="auto">
          <a:xfrm>
            <a:off x="5506680" y="2820235"/>
            <a:ext cx="216024" cy="252053"/>
          </a:xfrm>
          <a:prstGeom prst="flowChartConnector">
            <a:avLst/>
          </a:prstGeom>
          <a:solidFill>
            <a:srgbClr val="BE3283"/>
          </a:solidFill>
          <a:ln w="9525">
            <a:solidFill>
              <a:srgbClr val="BE3283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0" name="Flowchart: Connector 49">
            <a:extLst>
              <a:ext uri="{FF2B5EF4-FFF2-40B4-BE49-F238E27FC236}">
                <a16:creationId xmlns:a16="http://schemas.microsoft.com/office/drawing/2014/main" id="{D4A50B01-C972-4FD8-9544-F20B7DA90C12}"/>
              </a:ext>
            </a:extLst>
          </p:cNvPr>
          <p:cNvSpPr/>
          <p:nvPr/>
        </p:nvSpPr>
        <p:spPr bwMode="auto">
          <a:xfrm>
            <a:off x="2884894" y="5375027"/>
            <a:ext cx="216024" cy="252053"/>
          </a:xfrm>
          <a:prstGeom prst="flowChartConnector">
            <a:avLst/>
          </a:prstGeom>
          <a:solidFill>
            <a:srgbClr val="9BBA43"/>
          </a:solidFill>
          <a:ln w="9525">
            <a:solidFill>
              <a:srgbClr val="9BBA43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1" name="Flowchart: Connector 50">
            <a:extLst>
              <a:ext uri="{FF2B5EF4-FFF2-40B4-BE49-F238E27FC236}">
                <a16:creationId xmlns:a16="http://schemas.microsoft.com/office/drawing/2014/main" id="{D5EAC0AE-A308-4E30-8705-CE05BC85A885}"/>
              </a:ext>
            </a:extLst>
          </p:cNvPr>
          <p:cNvSpPr/>
          <p:nvPr/>
        </p:nvSpPr>
        <p:spPr bwMode="auto">
          <a:xfrm>
            <a:off x="5016244" y="5732506"/>
            <a:ext cx="216024" cy="252053"/>
          </a:xfrm>
          <a:prstGeom prst="flowChartConnector">
            <a:avLst/>
          </a:prstGeom>
          <a:solidFill>
            <a:srgbClr val="9BBA43"/>
          </a:solidFill>
          <a:ln w="9525">
            <a:solidFill>
              <a:srgbClr val="9BBA43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" name="Flowchart: Connector 56">
            <a:extLst>
              <a:ext uri="{FF2B5EF4-FFF2-40B4-BE49-F238E27FC236}">
                <a16:creationId xmlns:a16="http://schemas.microsoft.com/office/drawing/2014/main" id="{B224D818-67B1-4ADF-B857-578FF79D265A}"/>
              </a:ext>
            </a:extLst>
          </p:cNvPr>
          <p:cNvSpPr/>
          <p:nvPr/>
        </p:nvSpPr>
        <p:spPr bwMode="auto">
          <a:xfrm>
            <a:off x="3604731" y="4118869"/>
            <a:ext cx="216024" cy="252053"/>
          </a:xfrm>
          <a:prstGeom prst="flowChartConnector">
            <a:avLst/>
          </a:pr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7A7AEF6D-6849-45BF-8B1B-176AD011DBB0}"/>
              </a:ext>
            </a:extLst>
          </p:cNvPr>
          <p:cNvCxnSpPr>
            <a:cxnSpLocks/>
          </p:cNvCxnSpPr>
          <p:nvPr/>
        </p:nvCxnSpPr>
        <p:spPr>
          <a:xfrm flipV="1">
            <a:off x="4396831" y="4651643"/>
            <a:ext cx="1213929" cy="6684"/>
          </a:xfrm>
          <a:prstGeom prst="line">
            <a:avLst/>
          </a:prstGeom>
          <a:ln w="9525">
            <a:solidFill>
              <a:srgbClr val="0A827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34268F01-1D86-4148-B84C-54D917CD1DA2}"/>
              </a:ext>
            </a:extLst>
          </p:cNvPr>
          <p:cNvSpPr/>
          <p:nvPr/>
        </p:nvSpPr>
        <p:spPr bwMode="auto">
          <a:xfrm>
            <a:off x="5391366" y="1199777"/>
            <a:ext cx="5003618" cy="957909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t"/>
          <a:lstStyle/>
          <a:p>
            <a:pPr defTabSz="576000" eaLnBrk="0" hangingPunct="0">
              <a:lnSpc>
                <a:spcPct val="120000"/>
              </a:lnSpc>
            </a:pPr>
            <a:r>
              <a:rPr lang="en-IN" b="1" baseline="0" dirty="0">
                <a:solidFill>
                  <a:srgbClr val="F97414"/>
                </a:solidFill>
                <a:latin typeface="+mn-lt"/>
                <a:ea typeface="+mn-ea"/>
                <a:cs typeface="+mn-cs"/>
              </a:rPr>
              <a:t> Recurrent Neural Networks </a:t>
            </a:r>
            <a:r>
              <a:rPr lang="en-IN" baseline="0" dirty="0">
                <a:solidFill>
                  <a:srgbClr val="F97414"/>
                </a:solidFill>
                <a:latin typeface="+mn-lt"/>
                <a:ea typeface="+mn-ea"/>
                <a:cs typeface="+mn-cs"/>
              </a:rPr>
              <a:t>commonly used for sequential data processing. Unlike feed forward NN’s it process data across multiple time steps. </a:t>
            </a:r>
          </a:p>
        </p:txBody>
      </p:sp>
      <p:sp>
        <p:nvSpPr>
          <p:cNvPr id="76" name="Flowchart: Connector 75">
            <a:extLst>
              <a:ext uri="{FF2B5EF4-FFF2-40B4-BE49-F238E27FC236}">
                <a16:creationId xmlns:a16="http://schemas.microsoft.com/office/drawing/2014/main" id="{1F7B7350-654A-4DD2-A3E5-0D7774BE318F}"/>
              </a:ext>
            </a:extLst>
          </p:cNvPr>
          <p:cNvSpPr/>
          <p:nvPr/>
        </p:nvSpPr>
        <p:spPr bwMode="auto">
          <a:xfrm>
            <a:off x="5502748" y="4525616"/>
            <a:ext cx="216024" cy="252053"/>
          </a:xfrm>
          <a:prstGeom prst="flowChartConnector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102F8F1-497E-4474-B1C3-9AF6E454CDD2}"/>
              </a:ext>
            </a:extLst>
          </p:cNvPr>
          <p:cNvCxnSpPr>
            <a:cxnSpLocks/>
          </p:cNvCxnSpPr>
          <p:nvPr/>
        </p:nvCxnSpPr>
        <p:spPr>
          <a:xfrm>
            <a:off x="3772402" y="4289309"/>
            <a:ext cx="641872" cy="377998"/>
          </a:xfrm>
          <a:prstGeom prst="line">
            <a:avLst/>
          </a:prstGeom>
          <a:ln w="9525">
            <a:solidFill>
              <a:srgbClr val="0A827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93238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601A499-F022-2CAB-FC00-3DF684B77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 vert="horz" lIns="0" tIns="0" rIns="0" bIns="10800" rtlCol="0" anchor="b" anchorCtr="0">
            <a:normAutofit/>
          </a:bodyPr>
          <a:lstStyle/>
          <a:p>
            <a:r>
              <a:rPr lang="en-US" baseline="0" dirty="0">
                <a:latin typeface="+mn-lt"/>
                <a:ea typeface="+mj-ea"/>
                <a:cs typeface="+mj-cs"/>
              </a:rPr>
              <a:t>How does NLP work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03BB73-166C-4E81-8531-C40463D1ACF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638" y="3799884"/>
            <a:ext cx="1440000" cy="14400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4161E65-2BFA-4D2A-BBA2-11874BFAD37D}"/>
              </a:ext>
            </a:extLst>
          </p:cNvPr>
          <p:cNvSpPr/>
          <p:nvPr/>
        </p:nvSpPr>
        <p:spPr>
          <a:xfrm>
            <a:off x="6217282" y="4420320"/>
            <a:ext cx="194114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en-IN" b="1" dirty="0">
                <a:latin typeface="+mn-lt"/>
              </a:rPr>
              <a:t>Neural Network</a:t>
            </a:r>
          </a:p>
          <a:p>
            <a:pPr algn="ctr" eaLnBrk="0" hangingPunct="0"/>
            <a:r>
              <a:rPr lang="en-IN" b="1" dirty="0">
                <a:latin typeface="+mn-lt"/>
              </a:rPr>
              <a:t> Architectures</a:t>
            </a:r>
          </a:p>
        </p:txBody>
      </p:sp>
      <p:pic>
        <p:nvPicPr>
          <p:cNvPr id="43" name="Picture 42" descr="Machine gears">
            <a:extLst>
              <a:ext uri="{FF2B5EF4-FFF2-40B4-BE49-F238E27FC236}">
                <a16:creationId xmlns:a16="http://schemas.microsoft.com/office/drawing/2014/main" id="{71A833D9-FBBA-440B-8E9A-540A558FE23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633" y="2434956"/>
            <a:ext cx="2350512" cy="1566625"/>
          </a:xfrm>
          <a:prstGeom prst="rect">
            <a:avLst/>
          </a:prstGeom>
          <a:solidFill>
            <a:schemeClr val="lt2"/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A4A4C529-4A67-4FAC-AE2B-C2E2CA3931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34120" y="2516019"/>
            <a:ext cx="2107468" cy="1603866"/>
          </a:xfrm>
          <a:prstGeom prst="rect">
            <a:avLst/>
          </a:prstGeom>
          <a:solidFill>
            <a:schemeClr val="lt2"/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7622A45-F15F-4D5B-80E3-B7287B6D23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478501" y="1714195"/>
            <a:ext cx="1440000" cy="166233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A71AF48B-32A9-44B6-B86B-5F8373EA0987}"/>
              </a:ext>
            </a:extLst>
          </p:cNvPr>
          <p:cNvSpPr txBox="1"/>
          <p:nvPr/>
        </p:nvSpPr>
        <p:spPr bwMode="auto">
          <a:xfrm>
            <a:off x="325644" y="5519605"/>
            <a:ext cx="1740073" cy="354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sz="1400" b="1" kern="0" baseline="0" dirty="0">
                <a:latin typeface="+mn-lt"/>
              </a:rPr>
              <a:t>Textual </a:t>
            </a:r>
            <a:r>
              <a:rPr lang="en-IN" b="1" kern="0" dirty="0">
                <a:latin typeface="+mn-lt"/>
              </a:rPr>
              <a:t>/ Speech Data</a:t>
            </a:r>
            <a:endParaRPr lang="en-IN" sz="1400" b="1" kern="0" baseline="0" dirty="0">
              <a:latin typeface="+mn-lt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7FE85468-BF93-467B-B5F8-04DE4CB6B40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3611" y="1543521"/>
            <a:ext cx="1615580" cy="120711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DAFD66F8-3CE7-4752-8C7B-4D0673991AD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2067" y="4636328"/>
            <a:ext cx="1621677" cy="120711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6038F1A6-91FE-4EE1-9FAD-6C39BD5532C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2067" y="3100277"/>
            <a:ext cx="1615580" cy="120101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FFAB7C27-1F3D-4760-931F-466832352901}"/>
              </a:ext>
            </a:extLst>
          </p:cNvPr>
          <p:cNvSpPr/>
          <p:nvPr/>
        </p:nvSpPr>
        <p:spPr>
          <a:xfrm rot="5400000">
            <a:off x="9196532" y="3454087"/>
            <a:ext cx="44644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en-IN" sz="2000" dirty="0">
                <a:latin typeface="+mn-lt"/>
              </a:rPr>
              <a:t>Application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C413A8-8EC7-46F4-930F-67FE92FCB1FE}"/>
              </a:ext>
            </a:extLst>
          </p:cNvPr>
          <p:cNvSpPr/>
          <p:nvPr/>
        </p:nvSpPr>
        <p:spPr>
          <a:xfrm>
            <a:off x="9287582" y="6010578"/>
            <a:ext cx="194114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en-IN" b="1" dirty="0">
                <a:latin typeface="+mn-lt"/>
              </a:rPr>
              <a:t>Outputs</a:t>
            </a:r>
          </a:p>
        </p:txBody>
      </p:sp>
      <p:sp>
        <p:nvSpPr>
          <p:cNvPr id="67" name="Arrow: Right 66">
            <a:extLst>
              <a:ext uri="{FF2B5EF4-FFF2-40B4-BE49-F238E27FC236}">
                <a16:creationId xmlns:a16="http://schemas.microsoft.com/office/drawing/2014/main" id="{5B39B410-1802-405C-A010-5F2909B17ADA}"/>
              </a:ext>
            </a:extLst>
          </p:cNvPr>
          <p:cNvSpPr/>
          <p:nvPr/>
        </p:nvSpPr>
        <p:spPr bwMode="auto">
          <a:xfrm>
            <a:off x="5339973" y="3052469"/>
            <a:ext cx="592165" cy="450291"/>
          </a:xfrm>
          <a:prstGeom prst="rightArrow">
            <a:avLst>
              <a:gd name="adj1" fmla="val 50000"/>
              <a:gd name="adj2" fmla="val 67806"/>
            </a:avLst>
          </a:prstGeom>
          <a:solidFill>
            <a:srgbClr val="D1E1DB"/>
          </a:solidFill>
          <a:ln w="19050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68" name="Arrow: Right 67">
            <a:extLst>
              <a:ext uri="{FF2B5EF4-FFF2-40B4-BE49-F238E27FC236}">
                <a16:creationId xmlns:a16="http://schemas.microsoft.com/office/drawing/2014/main" id="{D1B77FAF-D13F-4B99-956E-0525E3CF94A8}"/>
              </a:ext>
            </a:extLst>
          </p:cNvPr>
          <p:cNvSpPr/>
          <p:nvPr/>
        </p:nvSpPr>
        <p:spPr bwMode="auto">
          <a:xfrm>
            <a:off x="8499801" y="3052468"/>
            <a:ext cx="592165" cy="450291"/>
          </a:xfrm>
          <a:prstGeom prst="rightArrow">
            <a:avLst>
              <a:gd name="adj1" fmla="val 50000"/>
              <a:gd name="adj2" fmla="val 67806"/>
            </a:avLst>
          </a:prstGeom>
          <a:solidFill>
            <a:srgbClr val="D1E1DB"/>
          </a:solidFill>
          <a:ln w="19050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69" name="Arrow: Right 68">
            <a:extLst>
              <a:ext uri="{FF2B5EF4-FFF2-40B4-BE49-F238E27FC236}">
                <a16:creationId xmlns:a16="http://schemas.microsoft.com/office/drawing/2014/main" id="{64744C93-9F2A-4EBF-8686-7B82043CAC34}"/>
              </a:ext>
            </a:extLst>
          </p:cNvPr>
          <p:cNvSpPr/>
          <p:nvPr/>
        </p:nvSpPr>
        <p:spPr bwMode="auto">
          <a:xfrm>
            <a:off x="2092684" y="3052469"/>
            <a:ext cx="592165" cy="450291"/>
          </a:xfrm>
          <a:prstGeom prst="rightArrow">
            <a:avLst>
              <a:gd name="adj1" fmla="val 50000"/>
              <a:gd name="adj2" fmla="val 67806"/>
            </a:avLst>
          </a:prstGeom>
          <a:solidFill>
            <a:srgbClr val="D1E1DB"/>
          </a:solidFill>
          <a:ln w="19050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D70E932-B400-402B-A381-AD5E4C97BF84}"/>
              </a:ext>
            </a:extLst>
          </p:cNvPr>
          <p:cNvSpPr txBox="1"/>
          <p:nvPr/>
        </p:nvSpPr>
        <p:spPr bwMode="auto">
          <a:xfrm>
            <a:off x="5459810" y="6143604"/>
            <a:ext cx="3057055" cy="287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867" i="1" kern="0" dirty="0">
                <a:solidFill>
                  <a:srgbClr val="644F54"/>
                </a:solidFill>
                <a:latin typeface="+mn-lt"/>
                <a:ea typeface="Verdana" pitchFamily="34" charset="0"/>
                <a:cs typeface="Arial" panose="020B0604020202020204" pitchFamily="34" charset="0"/>
              </a:rPr>
              <a:t>Let’s discuss this in detail </a:t>
            </a:r>
          </a:p>
        </p:txBody>
      </p:sp>
      <p:sp>
        <p:nvSpPr>
          <p:cNvPr id="72" name="Arrow: Down 71">
            <a:extLst>
              <a:ext uri="{FF2B5EF4-FFF2-40B4-BE49-F238E27FC236}">
                <a16:creationId xmlns:a16="http://schemas.microsoft.com/office/drawing/2014/main" id="{A1C86A63-C8AF-47C9-91FA-7481DA6D2A9D}"/>
              </a:ext>
            </a:extLst>
          </p:cNvPr>
          <p:cNvSpPr/>
          <p:nvPr/>
        </p:nvSpPr>
        <p:spPr bwMode="auto">
          <a:xfrm rot="5400000">
            <a:off x="8502718" y="6172681"/>
            <a:ext cx="244381" cy="250215"/>
          </a:xfrm>
          <a:prstGeom prst="downArrow">
            <a:avLst/>
          </a:prstGeom>
          <a:solidFill>
            <a:srgbClr val="D1C9CA"/>
          </a:solidFill>
          <a:ln w="9525" cap="flat" cmpd="sng" algn="ctr">
            <a:solidFill>
              <a:srgbClr val="644F54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5ACF6258-1CA9-4576-93D0-1BB585450F73}"/>
              </a:ext>
            </a:extLst>
          </p:cNvPr>
          <p:cNvSpPr/>
          <p:nvPr/>
        </p:nvSpPr>
        <p:spPr bwMode="auto">
          <a:xfrm>
            <a:off x="8904312" y="1226448"/>
            <a:ext cx="2908341" cy="5200216"/>
          </a:xfrm>
          <a:prstGeom prst="rect">
            <a:avLst/>
          </a:prstGeom>
          <a:noFill/>
          <a:ln w="38100">
            <a:solidFill>
              <a:srgbClr val="C00000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C8D534E-6BAB-46C3-A3DE-7CFDC1B6E6E6}"/>
              </a:ext>
            </a:extLst>
          </p:cNvPr>
          <p:cNvSpPr txBox="1"/>
          <p:nvPr/>
        </p:nvSpPr>
        <p:spPr bwMode="auto">
          <a:xfrm>
            <a:off x="9091966" y="6525345"/>
            <a:ext cx="2260618" cy="751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IN" kern="0" dirty="0">
                <a:hlinkClick r:id="rId12"/>
              </a:rPr>
              <a:t>[Reference1]</a:t>
            </a:r>
            <a:r>
              <a:rPr lang="en-IN" kern="0" dirty="0"/>
              <a:t> </a:t>
            </a:r>
            <a:r>
              <a:rPr lang="en-IN" kern="0" dirty="0">
                <a:hlinkClick r:id="rId13"/>
              </a:rPr>
              <a:t>[Reference2]</a:t>
            </a:r>
            <a:endParaRPr lang="en-IN" sz="2400" kern="0" dirty="0"/>
          </a:p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IN" kern="0" dirty="0"/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endParaRPr lang="en-IN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3422C5-3931-442D-9E74-180924DE0AD7}"/>
              </a:ext>
            </a:extLst>
          </p:cNvPr>
          <p:cNvSpPr txBox="1"/>
          <p:nvPr/>
        </p:nvSpPr>
        <p:spPr bwMode="auto">
          <a:xfrm>
            <a:off x="2828312" y="4236122"/>
            <a:ext cx="2448169" cy="707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sz="1400" b="1" kern="0" baseline="0" dirty="0">
                <a:latin typeface="+mn-lt"/>
                <a:ea typeface="+mn-ea"/>
                <a:cs typeface="+mn-cs"/>
              </a:rPr>
              <a:t>Exploratory Data Analysis </a:t>
            </a:r>
          </a:p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b="1" kern="0" dirty="0">
                <a:latin typeface="+mn-lt"/>
              </a:rPr>
              <a:t>and</a:t>
            </a:r>
            <a:endParaRPr lang="en-IN" sz="1400" b="1" kern="0" baseline="0" dirty="0">
              <a:latin typeface="+mn-lt"/>
              <a:ea typeface="+mn-ea"/>
              <a:cs typeface="+mn-cs"/>
            </a:endParaRPr>
          </a:p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sz="1400" b="1" kern="0" baseline="0" dirty="0">
                <a:latin typeface="+mn-lt"/>
                <a:ea typeface="+mn-ea"/>
                <a:cs typeface="+mn-cs"/>
              </a:rPr>
              <a:t>Pre-processing</a:t>
            </a:r>
          </a:p>
        </p:txBody>
      </p:sp>
    </p:spTree>
    <p:extLst>
      <p:ext uri="{BB962C8B-B14F-4D97-AF65-F5344CB8AC3E}">
        <p14:creationId xmlns:p14="http://schemas.microsoft.com/office/powerpoint/2010/main" val="112681449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/>
      <p:bldP spid="72" grpId="0" animBg="1"/>
      <p:bldP spid="7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8D5374-2F72-4B7E-B643-FFE80BFE8F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Common NLP Applications</a:t>
            </a:r>
          </a:p>
        </p:txBody>
      </p:sp>
      <p:sp>
        <p:nvSpPr>
          <p:cNvPr id="16" name="object 12">
            <a:extLst>
              <a:ext uri="{FF2B5EF4-FFF2-40B4-BE49-F238E27FC236}">
                <a16:creationId xmlns:a16="http://schemas.microsoft.com/office/drawing/2014/main" id="{DFABC237-DF16-4981-93AC-C882624FA889}"/>
              </a:ext>
            </a:extLst>
          </p:cNvPr>
          <p:cNvSpPr/>
          <p:nvPr/>
        </p:nvSpPr>
        <p:spPr>
          <a:xfrm>
            <a:off x="4263159" y="3107375"/>
            <a:ext cx="3225364" cy="3157589"/>
          </a:xfrm>
          <a:custGeom>
            <a:avLst/>
            <a:gdLst/>
            <a:ahLst/>
            <a:cxnLst/>
            <a:rect l="l" t="t" r="r" b="b"/>
            <a:pathLst>
              <a:path w="2417445" h="2417445">
                <a:moveTo>
                  <a:pt x="2417432" y="1208722"/>
                </a:moveTo>
                <a:lnTo>
                  <a:pt x="2416472" y="1257336"/>
                </a:lnTo>
                <a:lnTo>
                  <a:pt x="2413617" y="1305462"/>
                </a:lnTo>
                <a:lnTo>
                  <a:pt x="2408902" y="1353065"/>
                </a:lnTo>
                <a:lnTo>
                  <a:pt x="2402364" y="1400109"/>
                </a:lnTo>
                <a:lnTo>
                  <a:pt x="2394039" y="1446557"/>
                </a:lnTo>
                <a:lnTo>
                  <a:pt x="2383964" y="1492373"/>
                </a:lnTo>
                <a:lnTo>
                  <a:pt x="2372173" y="1537522"/>
                </a:lnTo>
                <a:lnTo>
                  <a:pt x="2358703" y="1581967"/>
                </a:lnTo>
                <a:lnTo>
                  <a:pt x="2343590" y="1625672"/>
                </a:lnTo>
                <a:lnTo>
                  <a:pt x="2326871" y="1668601"/>
                </a:lnTo>
                <a:lnTo>
                  <a:pt x="2308582" y="1710718"/>
                </a:lnTo>
                <a:lnTo>
                  <a:pt x="2288758" y="1751986"/>
                </a:lnTo>
                <a:lnTo>
                  <a:pt x="2267436" y="1792370"/>
                </a:lnTo>
                <a:lnTo>
                  <a:pt x="2244652" y="1831833"/>
                </a:lnTo>
                <a:lnTo>
                  <a:pt x="2220441" y="1870340"/>
                </a:lnTo>
                <a:lnTo>
                  <a:pt x="2194841" y="1907854"/>
                </a:lnTo>
                <a:lnTo>
                  <a:pt x="2167887" y="1944340"/>
                </a:lnTo>
                <a:lnTo>
                  <a:pt x="2139615" y="1979760"/>
                </a:lnTo>
                <a:lnTo>
                  <a:pt x="2110061" y="2014079"/>
                </a:lnTo>
                <a:lnTo>
                  <a:pt x="2079262" y="2047261"/>
                </a:lnTo>
                <a:lnTo>
                  <a:pt x="2047253" y="2079270"/>
                </a:lnTo>
                <a:lnTo>
                  <a:pt x="2014072" y="2110069"/>
                </a:lnTo>
                <a:lnTo>
                  <a:pt x="1979753" y="2139623"/>
                </a:lnTo>
                <a:lnTo>
                  <a:pt x="1944332" y="2167895"/>
                </a:lnTo>
                <a:lnTo>
                  <a:pt x="1907847" y="2194850"/>
                </a:lnTo>
                <a:lnTo>
                  <a:pt x="1870333" y="2220451"/>
                </a:lnTo>
                <a:lnTo>
                  <a:pt x="1831826" y="2244661"/>
                </a:lnTo>
                <a:lnTo>
                  <a:pt x="1792363" y="2267446"/>
                </a:lnTo>
                <a:lnTo>
                  <a:pt x="1751979" y="2288768"/>
                </a:lnTo>
                <a:lnTo>
                  <a:pt x="1710710" y="2308593"/>
                </a:lnTo>
                <a:lnTo>
                  <a:pt x="1668593" y="2326882"/>
                </a:lnTo>
                <a:lnTo>
                  <a:pt x="1625664" y="2343602"/>
                </a:lnTo>
                <a:lnTo>
                  <a:pt x="1581959" y="2358714"/>
                </a:lnTo>
                <a:lnTo>
                  <a:pt x="1537514" y="2372184"/>
                </a:lnTo>
                <a:lnTo>
                  <a:pt x="1492365" y="2383976"/>
                </a:lnTo>
                <a:lnTo>
                  <a:pt x="1446548" y="2394052"/>
                </a:lnTo>
                <a:lnTo>
                  <a:pt x="1400099" y="2402377"/>
                </a:lnTo>
                <a:lnTo>
                  <a:pt x="1353055" y="2408915"/>
                </a:lnTo>
                <a:lnTo>
                  <a:pt x="1305451" y="2413629"/>
                </a:lnTo>
                <a:lnTo>
                  <a:pt x="1257324" y="2416485"/>
                </a:lnTo>
                <a:lnTo>
                  <a:pt x="1208709" y="2417445"/>
                </a:lnTo>
                <a:lnTo>
                  <a:pt x="1160096" y="2416485"/>
                </a:lnTo>
                <a:lnTo>
                  <a:pt x="1111969" y="2413629"/>
                </a:lnTo>
                <a:lnTo>
                  <a:pt x="1064366" y="2408915"/>
                </a:lnTo>
                <a:lnTo>
                  <a:pt x="1017323" y="2402377"/>
                </a:lnTo>
                <a:lnTo>
                  <a:pt x="970875" y="2394052"/>
                </a:lnTo>
                <a:lnTo>
                  <a:pt x="925059" y="2383976"/>
                </a:lnTo>
                <a:lnTo>
                  <a:pt x="879910" y="2372184"/>
                </a:lnTo>
                <a:lnTo>
                  <a:pt x="835466" y="2358714"/>
                </a:lnTo>
                <a:lnTo>
                  <a:pt x="791761" y="2343602"/>
                </a:lnTo>
                <a:lnTo>
                  <a:pt x="748832" y="2326882"/>
                </a:lnTo>
                <a:lnTo>
                  <a:pt x="706716" y="2308593"/>
                </a:lnTo>
                <a:lnTo>
                  <a:pt x="665448" y="2288768"/>
                </a:lnTo>
                <a:lnTo>
                  <a:pt x="625064" y="2267446"/>
                </a:lnTo>
                <a:lnTo>
                  <a:pt x="585601" y="2244661"/>
                </a:lnTo>
                <a:lnTo>
                  <a:pt x="547095" y="2220451"/>
                </a:lnTo>
                <a:lnTo>
                  <a:pt x="509581" y="2194850"/>
                </a:lnTo>
                <a:lnTo>
                  <a:pt x="473096" y="2167895"/>
                </a:lnTo>
                <a:lnTo>
                  <a:pt x="437677" y="2139623"/>
                </a:lnTo>
                <a:lnTo>
                  <a:pt x="403358" y="2110069"/>
                </a:lnTo>
                <a:lnTo>
                  <a:pt x="370176" y="2079270"/>
                </a:lnTo>
                <a:lnTo>
                  <a:pt x="338168" y="2047261"/>
                </a:lnTo>
                <a:lnTo>
                  <a:pt x="307369" y="2014079"/>
                </a:lnTo>
                <a:lnTo>
                  <a:pt x="277816" y="1979760"/>
                </a:lnTo>
                <a:lnTo>
                  <a:pt x="249544" y="1944340"/>
                </a:lnTo>
                <a:lnTo>
                  <a:pt x="222590" y="1907854"/>
                </a:lnTo>
                <a:lnTo>
                  <a:pt x="196990" y="1870340"/>
                </a:lnTo>
                <a:lnTo>
                  <a:pt x="172779" y="1831833"/>
                </a:lnTo>
                <a:lnTo>
                  <a:pt x="149995" y="1792370"/>
                </a:lnTo>
                <a:lnTo>
                  <a:pt x="128673" y="1751986"/>
                </a:lnTo>
                <a:lnTo>
                  <a:pt x="108849" y="1710718"/>
                </a:lnTo>
                <a:lnTo>
                  <a:pt x="90560" y="1668601"/>
                </a:lnTo>
                <a:lnTo>
                  <a:pt x="73841" y="1625672"/>
                </a:lnTo>
                <a:lnTo>
                  <a:pt x="58728" y="1581967"/>
                </a:lnTo>
                <a:lnTo>
                  <a:pt x="45259" y="1537522"/>
                </a:lnTo>
                <a:lnTo>
                  <a:pt x="33468" y="1492373"/>
                </a:lnTo>
                <a:lnTo>
                  <a:pt x="23392" y="1446557"/>
                </a:lnTo>
                <a:lnTo>
                  <a:pt x="15067" y="1400109"/>
                </a:lnTo>
                <a:lnTo>
                  <a:pt x="8529" y="1353065"/>
                </a:lnTo>
                <a:lnTo>
                  <a:pt x="3814" y="1305462"/>
                </a:lnTo>
                <a:lnTo>
                  <a:pt x="959" y="1257336"/>
                </a:lnTo>
                <a:lnTo>
                  <a:pt x="0" y="1208722"/>
                </a:lnTo>
                <a:lnTo>
                  <a:pt x="959" y="1160108"/>
                </a:lnTo>
                <a:lnTo>
                  <a:pt x="3814" y="1111980"/>
                </a:lnTo>
                <a:lnTo>
                  <a:pt x="8529" y="1064377"/>
                </a:lnTo>
                <a:lnTo>
                  <a:pt x="15067" y="1017332"/>
                </a:lnTo>
                <a:lnTo>
                  <a:pt x="23392" y="970884"/>
                </a:lnTo>
                <a:lnTo>
                  <a:pt x="33468" y="925067"/>
                </a:lnTo>
                <a:lnTo>
                  <a:pt x="45259" y="879917"/>
                </a:lnTo>
                <a:lnTo>
                  <a:pt x="58728" y="835472"/>
                </a:lnTo>
                <a:lnTo>
                  <a:pt x="73841" y="791767"/>
                </a:lnTo>
                <a:lnTo>
                  <a:pt x="90560" y="748838"/>
                </a:lnTo>
                <a:lnTo>
                  <a:pt x="108849" y="706721"/>
                </a:lnTo>
                <a:lnTo>
                  <a:pt x="128673" y="665452"/>
                </a:lnTo>
                <a:lnTo>
                  <a:pt x="149995" y="625068"/>
                </a:lnTo>
                <a:lnTo>
                  <a:pt x="172779" y="585605"/>
                </a:lnTo>
                <a:lnTo>
                  <a:pt x="196990" y="547098"/>
                </a:lnTo>
                <a:lnTo>
                  <a:pt x="222590" y="509584"/>
                </a:lnTo>
                <a:lnTo>
                  <a:pt x="249544" y="473099"/>
                </a:lnTo>
                <a:lnTo>
                  <a:pt x="277816" y="437679"/>
                </a:lnTo>
                <a:lnTo>
                  <a:pt x="307369" y="403360"/>
                </a:lnTo>
                <a:lnTo>
                  <a:pt x="338168" y="370178"/>
                </a:lnTo>
                <a:lnTo>
                  <a:pt x="370176" y="338169"/>
                </a:lnTo>
                <a:lnTo>
                  <a:pt x="403358" y="307370"/>
                </a:lnTo>
                <a:lnTo>
                  <a:pt x="437677" y="277817"/>
                </a:lnTo>
                <a:lnTo>
                  <a:pt x="473096" y="249545"/>
                </a:lnTo>
                <a:lnTo>
                  <a:pt x="509581" y="222590"/>
                </a:lnTo>
                <a:lnTo>
                  <a:pt x="547095" y="196990"/>
                </a:lnTo>
                <a:lnTo>
                  <a:pt x="585601" y="172780"/>
                </a:lnTo>
                <a:lnTo>
                  <a:pt x="625064" y="149995"/>
                </a:lnTo>
                <a:lnTo>
                  <a:pt x="665448" y="128673"/>
                </a:lnTo>
                <a:lnTo>
                  <a:pt x="706716" y="108849"/>
                </a:lnTo>
                <a:lnTo>
                  <a:pt x="748832" y="90560"/>
                </a:lnTo>
                <a:lnTo>
                  <a:pt x="791761" y="73841"/>
                </a:lnTo>
                <a:lnTo>
                  <a:pt x="835466" y="58728"/>
                </a:lnTo>
                <a:lnTo>
                  <a:pt x="879910" y="45259"/>
                </a:lnTo>
                <a:lnTo>
                  <a:pt x="925059" y="33468"/>
                </a:lnTo>
                <a:lnTo>
                  <a:pt x="970875" y="23392"/>
                </a:lnTo>
                <a:lnTo>
                  <a:pt x="1017323" y="15067"/>
                </a:lnTo>
                <a:lnTo>
                  <a:pt x="1064366" y="8529"/>
                </a:lnTo>
                <a:lnTo>
                  <a:pt x="1111969" y="3814"/>
                </a:lnTo>
                <a:lnTo>
                  <a:pt x="1160096" y="959"/>
                </a:lnTo>
                <a:lnTo>
                  <a:pt x="1208709" y="0"/>
                </a:lnTo>
                <a:lnTo>
                  <a:pt x="1257324" y="959"/>
                </a:lnTo>
                <a:lnTo>
                  <a:pt x="1305451" y="3814"/>
                </a:lnTo>
                <a:lnTo>
                  <a:pt x="1353055" y="8529"/>
                </a:lnTo>
                <a:lnTo>
                  <a:pt x="1400099" y="15067"/>
                </a:lnTo>
                <a:lnTo>
                  <a:pt x="1446548" y="23392"/>
                </a:lnTo>
                <a:lnTo>
                  <a:pt x="1492365" y="33468"/>
                </a:lnTo>
                <a:lnTo>
                  <a:pt x="1537514" y="45259"/>
                </a:lnTo>
                <a:lnTo>
                  <a:pt x="1581959" y="58728"/>
                </a:lnTo>
                <a:lnTo>
                  <a:pt x="1625664" y="73841"/>
                </a:lnTo>
                <a:lnTo>
                  <a:pt x="1668593" y="90560"/>
                </a:lnTo>
                <a:lnTo>
                  <a:pt x="1710710" y="108849"/>
                </a:lnTo>
                <a:lnTo>
                  <a:pt x="1751979" y="128673"/>
                </a:lnTo>
                <a:lnTo>
                  <a:pt x="1792363" y="149995"/>
                </a:lnTo>
                <a:lnTo>
                  <a:pt x="1831826" y="172780"/>
                </a:lnTo>
                <a:lnTo>
                  <a:pt x="1870333" y="196990"/>
                </a:lnTo>
                <a:lnTo>
                  <a:pt x="1907847" y="222590"/>
                </a:lnTo>
                <a:lnTo>
                  <a:pt x="1944332" y="249545"/>
                </a:lnTo>
                <a:lnTo>
                  <a:pt x="1979753" y="277817"/>
                </a:lnTo>
                <a:lnTo>
                  <a:pt x="2014072" y="307370"/>
                </a:lnTo>
                <a:lnTo>
                  <a:pt x="2047253" y="338169"/>
                </a:lnTo>
                <a:lnTo>
                  <a:pt x="2079262" y="370178"/>
                </a:lnTo>
                <a:lnTo>
                  <a:pt x="2110061" y="403360"/>
                </a:lnTo>
                <a:lnTo>
                  <a:pt x="2139615" y="437679"/>
                </a:lnTo>
                <a:lnTo>
                  <a:pt x="2167887" y="473099"/>
                </a:lnTo>
                <a:lnTo>
                  <a:pt x="2194841" y="509584"/>
                </a:lnTo>
                <a:lnTo>
                  <a:pt x="2220441" y="547098"/>
                </a:lnTo>
                <a:lnTo>
                  <a:pt x="2244652" y="585605"/>
                </a:lnTo>
                <a:lnTo>
                  <a:pt x="2267436" y="625068"/>
                </a:lnTo>
                <a:lnTo>
                  <a:pt x="2288758" y="665452"/>
                </a:lnTo>
                <a:lnTo>
                  <a:pt x="2308582" y="706721"/>
                </a:lnTo>
                <a:lnTo>
                  <a:pt x="2326871" y="748838"/>
                </a:lnTo>
                <a:lnTo>
                  <a:pt x="2343590" y="791767"/>
                </a:lnTo>
                <a:lnTo>
                  <a:pt x="2358703" y="835472"/>
                </a:lnTo>
                <a:lnTo>
                  <a:pt x="2372173" y="879917"/>
                </a:lnTo>
                <a:lnTo>
                  <a:pt x="2383964" y="925067"/>
                </a:lnTo>
                <a:lnTo>
                  <a:pt x="2394039" y="970884"/>
                </a:lnTo>
                <a:lnTo>
                  <a:pt x="2402364" y="1017332"/>
                </a:lnTo>
                <a:lnTo>
                  <a:pt x="2408902" y="1064377"/>
                </a:lnTo>
                <a:lnTo>
                  <a:pt x="2413617" y="1111980"/>
                </a:lnTo>
                <a:lnTo>
                  <a:pt x="2416472" y="1160108"/>
                </a:lnTo>
                <a:lnTo>
                  <a:pt x="2417432" y="1208722"/>
                </a:lnTo>
                <a:close/>
              </a:path>
            </a:pathLst>
          </a:custGeom>
          <a:ln w="25400">
            <a:solidFill>
              <a:srgbClr val="AB377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A1E31303-4548-4123-AEE6-C1ED04475FB3}"/>
              </a:ext>
            </a:extLst>
          </p:cNvPr>
          <p:cNvSpPr/>
          <p:nvPr/>
        </p:nvSpPr>
        <p:spPr>
          <a:xfrm>
            <a:off x="4631658" y="3428179"/>
            <a:ext cx="2526323" cy="2474983"/>
          </a:xfrm>
          <a:custGeom>
            <a:avLst/>
            <a:gdLst/>
            <a:ahLst/>
            <a:cxnLst/>
            <a:rect l="l" t="t" r="r" b="b"/>
            <a:pathLst>
              <a:path w="1849754" h="1849754">
                <a:moveTo>
                  <a:pt x="924864" y="0"/>
                </a:moveTo>
                <a:lnTo>
                  <a:pt x="877272" y="1203"/>
                </a:lnTo>
                <a:lnTo>
                  <a:pt x="830303" y="4774"/>
                </a:lnTo>
                <a:lnTo>
                  <a:pt x="784018" y="10656"/>
                </a:lnTo>
                <a:lnTo>
                  <a:pt x="738474" y="18789"/>
                </a:lnTo>
                <a:lnTo>
                  <a:pt x="693729" y="29116"/>
                </a:lnTo>
                <a:lnTo>
                  <a:pt x="649841" y="41579"/>
                </a:lnTo>
                <a:lnTo>
                  <a:pt x="606868" y="56119"/>
                </a:lnTo>
                <a:lnTo>
                  <a:pt x="564868" y="72679"/>
                </a:lnTo>
                <a:lnTo>
                  <a:pt x="523900" y="91200"/>
                </a:lnTo>
                <a:lnTo>
                  <a:pt x="484022" y="111624"/>
                </a:lnTo>
                <a:lnTo>
                  <a:pt x="445292" y="133894"/>
                </a:lnTo>
                <a:lnTo>
                  <a:pt x="407767" y="157950"/>
                </a:lnTo>
                <a:lnTo>
                  <a:pt x="371506" y="183735"/>
                </a:lnTo>
                <a:lnTo>
                  <a:pt x="336567" y="211191"/>
                </a:lnTo>
                <a:lnTo>
                  <a:pt x="303009" y="240259"/>
                </a:lnTo>
                <a:lnTo>
                  <a:pt x="270889" y="270883"/>
                </a:lnTo>
                <a:lnTo>
                  <a:pt x="240265" y="303002"/>
                </a:lnTo>
                <a:lnTo>
                  <a:pt x="211196" y="336560"/>
                </a:lnTo>
                <a:lnTo>
                  <a:pt x="183740" y="371498"/>
                </a:lnTo>
                <a:lnTo>
                  <a:pt x="157954" y="407758"/>
                </a:lnTo>
                <a:lnTo>
                  <a:pt x="133897" y="445282"/>
                </a:lnTo>
                <a:lnTo>
                  <a:pt x="111627" y="484012"/>
                </a:lnTo>
                <a:lnTo>
                  <a:pt x="91202" y="523890"/>
                </a:lnTo>
                <a:lnTo>
                  <a:pt x="72681" y="564858"/>
                </a:lnTo>
                <a:lnTo>
                  <a:pt x="56121" y="606857"/>
                </a:lnTo>
                <a:lnTo>
                  <a:pt x="41580" y="649829"/>
                </a:lnTo>
                <a:lnTo>
                  <a:pt x="29117" y="693717"/>
                </a:lnTo>
                <a:lnTo>
                  <a:pt x="18790" y="738462"/>
                </a:lnTo>
                <a:lnTo>
                  <a:pt x="10656" y="784006"/>
                </a:lnTo>
                <a:lnTo>
                  <a:pt x="4775" y="830291"/>
                </a:lnTo>
                <a:lnTo>
                  <a:pt x="1203" y="877259"/>
                </a:lnTo>
                <a:lnTo>
                  <a:pt x="0" y="924852"/>
                </a:lnTo>
                <a:lnTo>
                  <a:pt x="1203" y="972444"/>
                </a:lnTo>
                <a:lnTo>
                  <a:pt x="4775" y="1019412"/>
                </a:lnTo>
                <a:lnTo>
                  <a:pt x="10656" y="1065697"/>
                </a:lnTo>
                <a:lnTo>
                  <a:pt x="18790" y="1111241"/>
                </a:lnTo>
                <a:lnTo>
                  <a:pt x="29117" y="1155986"/>
                </a:lnTo>
                <a:lnTo>
                  <a:pt x="41580" y="1199874"/>
                </a:lnTo>
                <a:lnTo>
                  <a:pt x="56121" y="1242847"/>
                </a:lnTo>
                <a:lnTo>
                  <a:pt x="72681" y="1284846"/>
                </a:lnTo>
                <a:lnTo>
                  <a:pt x="91202" y="1325813"/>
                </a:lnTo>
                <a:lnTo>
                  <a:pt x="111627" y="1365691"/>
                </a:lnTo>
                <a:lnTo>
                  <a:pt x="133897" y="1404421"/>
                </a:lnTo>
                <a:lnTo>
                  <a:pt x="157954" y="1441945"/>
                </a:lnTo>
                <a:lnTo>
                  <a:pt x="183740" y="1478205"/>
                </a:lnTo>
                <a:lnTo>
                  <a:pt x="211196" y="1513143"/>
                </a:lnTo>
                <a:lnTo>
                  <a:pt x="240265" y="1546701"/>
                </a:lnTo>
                <a:lnTo>
                  <a:pt x="270889" y="1578821"/>
                </a:lnTo>
                <a:lnTo>
                  <a:pt x="303009" y="1609444"/>
                </a:lnTo>
                <a:lnTo>
                  <a:pt x="336567" y="1638512"/>
                </a:lnTo>
                <a:lnTo>
                  <a:pt x="371506" y="1665968"/>
                </a:lnTo>
                <a:lnTo>
                  <a:pt x="407767" y="1691753"/>
                </a:lnTo>
                <a:lnTo>
                  <a:pt x="445292" y="1715810"/>
                </a:lnTo>
                <a:lnTo>
                  <a:pt x="484022" y="1738079"/>
                </a:lnTo>
                <a:lnTo>
                  <a:pt x="523900" y="1758503"/>
                </a:lnTo>
                <a:lnTo>
                  <a:pt x="564868" y="1777024"/>
                </a:lnTo>
                <a:lnTo>
                  <a:pt x="606868" y="1793584"/>
                </a:lnTo>
                <a:lnTo>
                  <a:pt x="649841" y="1808124"/>
                </a:lnTo>
                <a:lnTo>
                  <a:pt x="693729" y="1820587"/>
                </a:lnTo>
                <a:lnTo>
                  <a:pt x="738474" y="1830914"/>
                </a:lnTo>
                <a:lnTo>
                  <a:pt x="784018" y="1839047"/>
                </a:lnTo>
                <a:lnTo>
                  <a:pt x="830303" y="1844929"/>
                </a:lnTo>
                <a:lnTo>
                  <a:pt x="877272" y="1848500"/>
                </a:lnTo>
                <a:lnTo>
                  <a:pt x="924864" y="1849704"/>
                </a:lnTo>
                <a:lnTo>
                  <a:pt x="972457" y="1848500"/>
                </a:lnTo>
                <a:lnTo>
                  <a:pt x="1019425" y="1844929"/>
                </a:lnTo>
                <a:lnTo>
                  <a:pt x="1065710" y="1839047"/>
                </a:lnTo>
                <a:lnTo>
                  <a:pt x="1111254" y="1830914"/>
                </a:lnTo>
                <a:lnTo>
                  <a:pt x="1155999" y="1820587"/>
                </a:lnTo>
                <a:lnTo>
                  <a:pt x="1199887" y="1808124"/>
                </a:lnTo>
                <a:lnTo>
                  <a:pt x="1242859" y="1793584"/>
                </a:lnTo>
                <a:lnTo>
                  <a:pt x="1284858" y="1777024"/>
                </a:lnTo>
                <a:lnTo>
                  <a:pt x="1325826" y="1758503"/>
                </a:lnTo>
                <a:lnTo>
                  <a:pt x="1365704" y="1738079"/>
                </a:lnTo>
                <a:lnTo>
                  <a:pt x="1404434" y="1715810"/>
                </a:lnTo>
                <a:lnTo>
                  <a:pt x="1441958" y="1691753"/>
                </a:lnTo>
                <a:lnTo>
                  <a:pt x="1478218" y="1665968"/>
                </a:lnTo>
                <a:lnTo>
                  <a:pt x="1513156" y="1638512"/>
                </a:lnTo>
                <a:lnTo>
                  <a:pt x="1546714" y="1609444"/>
                </a:lnTo>
                <a:lnTo>
                  <a:pt x="1578833" y="1578821"/>
                </a:lnTo>
                <a:lnTo>
                  <a:pt x="1609456" y="1546701"/>
                </a:lnTo>
                <a:lnTo>
                  <a:pt x="1638525" y="1513143"/>
                </a:lnTo>
                <a:lnTo>
                  <a:pt x="1665981" y="1478205"/>
                </a:lnTo>
                <a:lnTo>
                  <a:pt x="1691766" y="1441945"/>
                </a:lnTo>
                <a:lnTo>
                  <a:pt x="1715822" y="1404421"/>
                </a:lnTo>
                <a:lnTo>
                  <a:pt x="1738092" y="1365691"/>
                </a:lnTo>
                <a:lnTo>
                  <a:pt x="1758516" y="1325813"/>
                </a:lnTo>
                <a:lnTo>
                  <a:pt x="1777037" y="1284846"/>
                </a:lnTo>
                <a:lnTo>
                  <a:pt x="1793597" y="1242847"/>
                </a:lnTo>
                <a:lnTo>
                  <a:pt x="1808137" y="1199874"/>
                </a:lnTo>
                <a:lnTo>
                  <a:pt x="1820600" y="1155986"/>
                </a:lnTo>
                <a:lnTo>
                  <a:pt x="1830927" y="1111241"/>
                </a:lnTo>
                <a:lnTo>
                  <a:pt x="1839060" y="1065697"/>
                </a:lnTo>
                <a:lnTo>
                  <a:pt x="1844941" y="1019412"/>
                </a:lnTo>
                <a:lnTo>
                  <a:pt x="1848513" y="972444"/>
                </a:lnTo>
                <a:lnTo>
                  <a:pt x="1849716" y="924852"/>
                </a:lnTo>
                <a:lnTo>
                  <a:pt x="1848513" y="877259"/>
                </a:lnTo>
                <a:lnTo>
                  <a:pt x="1844941" y="830291"/>
                </a:lnTo>
                <a:lnTo>
                  <a:pt x="1839060" y="784006"/>
                </a:lnTo>
                <a:lnTo>
                  <a:pt x="1830927" y="738462"/>
                </a:lnTo>
                <a:lnTo>
                  <a:pt x="1820600" y="693717"/>
                </a:lnTo>
                <a:lnTo>
                  <a:pt x="1808137" y="649829"/>
                </a:lnTo>
                <a:lnTo>
                  <a:pt x="1793597" y="606857"/>
                </a:lnTo>
                <a:lnTo>
                  <a:pt x="1777037" y="564858"/>
                </a:lnTo>
                <a:lnTo>
                  <a:pt x="1758516" y="523890"/>
                </a:lnTo>
                <a:lnTo>
                  <a:pt x="1738092" y="484012"/>
                </a:lnTo>
                <a:lnTo>
                  <a:pt x="1715822" y="445282"/>
                </a:lnTo>
                <a:lnTo>
                  <a:pt x="1691766" y="407758"/>
                </a:lnTo>
                <a:lnTo>
                  <a:pt x="1665981" y="371498"/>
                </a:lnTo>
                <a:lnTo>
                  <a:pt x="1638525" y="336560"/>
                </a:lnTo>
                <a:lnTo>
                  <a:pt x="1609456" y="303002"/>
                </a:lnTo>
                <a:lnTo>
                  <a:pt x="1578833" y="270883"/>
                </a:lnTo>
                <a:lnTo>
                  <a:pt x="1546714" y="240259"/>
                </a:lnTo>
                <a:lnTo>
                  <a:pt x="1513156" y="211191"/>
                </a:lnTo>
                <a:lnTo>
                  <a:pt x="1478218" y="183735"/>
                </a:lnTo>
                <a:lnTo>
                  <a:pt x="1441958" y="157950"/>
                </a:lnTo>
                <a:lnTo>
                  <a:pt x="1404434" y="133894"/>
                </a:lnTo>
                <a:lnTo>
                  <a:pt x="1365704" y="111624"/>
                </a:lnTo>
                <a:lnTo>
                  <a:pt x="1325826" y="91200"/>
                </a:lnTo>
                <a:lnTo>
                  <a:pt x="1284858" y="72679"/>
                </a:lnTo>
                <a:lnTo>
                  <a:pt x="1242859" y="56119"/>
                </a:lnTo>
                <a:lnTo>
                  <a:pt x="1199887" y="41579"/>
                </a:lnTo>
                <a:lnTo>
                  <a:pt x="1155999" y="29116"/>
                </a:lnTo>
                <a:lnTo>
                  <a:pt x="1111254" y="18789"/>
                </a:lnTo>
                <a:lnTo>
                  <a:pt x="1065710" y="10656"/>
                </a:lnTo>
                <a:lnTo>
                  <a:pt x="1019425" y="4774"/>
                </a:lnTo>
                <a:lnTo>
                  <a:pt x="972457" y="1203"/>
                </a:lnTo>
                <a:lnTo>
                  <a:pt x="924864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0" rIns="0" bIns="0" rtlCol="0" anchor="ctr" anchorCtr="0"/>
          <a:lstStyle/>
          <a:p>
            <a:pPr algn="ctr"/>
            <a:r>
              <a:rPr lang="de-DE" sz="20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NLP </a:t>
            </a:r>
          </a:p>
          <a:p>
            <a:pPr algn="ctr"/>
            <a:r>
              <a:rPr lang="de-DE" sz="20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pplications</a:t>
            </a:r>
          </a:p>
        </p:txBody>
      </p:sp>
      <p:sp>
        <p:nvSpPr>
          <p:cNvPr id="52" name="object 28">
            <a:extLst>
              <a:ext uri="{FF2B5EF4-FFF2-40B4-BE49-F238E27FC236}">
                <a16:creationId xmlns:a16="http://schemas.microsoft.com/office/drawing/2014/main" id="{C596F2F4-B963-4A9D-BDEE-817F79AB595A}"/>
              </a:ext>
            </a:extLst>
          </p:cNvPr>
          <p:cNvSpPr/>
          <p:nvPr/>
        </p:nvSpPr>
        <p:spPr>
          <a:xfrm>
            <a:off x="4126906" y="4535962"/>
            <a:ext cx="288614" cy="305226"/>
          </a:xfrm>
          <a:custGeom>
            <a:avLst/>
            <a:gdLst/>
            <a:ahLst/>
            <a:cxnLst/>
            <a:rect l="l" t="t" r="r" b="b"/>
            <a:pathLst>
              <a:path w="701675" h="701675">
                <a:moveTo>
                  <a:pt x="350735" y="0"/>
                </a:moveTo>
                <a:lnTo>
                  <a:pt x="303144" y="3201"/>
                </a:lnTo>
                <a:lnTo>
                  <a:pt x="257498" y="12529"/>
                </a:lnTo>
                <a:lnTo>
                  <a:pt x="214216" y="27563"/>
                </a:lnTo>
                <a:lnTo>
                  <a:pt x="173715" y="47887"/>
                </a:lnTo>
                <a:lnTo>
                  <a:pt x="136414" y="73082"/>
                </a:lnTo>
                <a:lnTo>
                  <a:pt x="102730" y="102731"/>
                </a:lnTo>
                <a:lnTo>
                  <a:pt x="73081" y="136416"/>
                </a:lnTo>
                <a:lnTo>
                  <a:pt x="47886" y="173719"/>
                </a:lnTo>
                <a:lnTo>
                  <a:pt x="27563" y="214221"/>
                </a:lnTo>
                <a:lnTo>
                  <a:pt x="12529" y="257505"/>
                </a:lnTo>
                <a:lnTo>
                  <a:pt x="3201" y="303154"/>
                </a:lnTo>
                <a:lnTo>
                  <a:pt x="0" y="350748"/>
                </a:lnTo>
                <a:lnTo>
                  <a:pt x="3201" y="398343"/>
                </a:lnTo>
                <a:lnTo>
                  <a:pt x="12529" y="443991"/>
                </a:lnTo>
                <a:lnTo>
                  <a:pt x="27563" y="487275"/>
                </a:lnTo>
                <a:lnTo>
                  <a:pt x="47886" y="527778"/>
                </a:lnTo>
                <a:lnTo>
                  <a:pt x="73081" y="565080"/>
                </a:lnTo>
                <a:lnTo>
                  <a:pt x="102730" y="598765"/>
                </a:lnTo>
                <a:lnTo>
                  <a:pt x="136414" y="628414"/>
                </a:lnTo>
                <a:lnTo>
                  <a:pt x="173715" y="653609"/>
                </a:lnTo>
                <a:lnTo>
                  <a:pt x="214216" y="673933"/>
                </a:lnTo>
                <a:lnTo>
                  <a:pt x="257498" y="688968"/>
                </a:lnTo>
                <a:lnTo>
                  <a:pt x="303144" y="698295"/>
                </a:lnTo>
                <a:lnTo>
                  <a:pt x="350735" y="701497"/>
                </a:lnTo>
                <a:lnTo>
                  <a:pt x="398330" y="698295"/>
                </a:lnTo>
                <a:lnTo>
                  <a:pt x="443978" y="688968"/>
                </a:lnTo>
                <a:lnTo>
                  <a:pt x="487263" y="673933"/>
                </a:lnTo>
                <a:lnTo>
                  <a:pt x="527765" y="653609"/>
                </a:lnTo>
                <a:lnTo>
                  <a:pt x="565067" y="628414"/>
                </a:lnTo>
                <a:lnTo>
                  <a:pt x="598752" y="598765"/>
                </a:lnTo>
                <a:lnTo>
                  <a:pt x="628401" y="565080"/>
                </a:lnTo>
                <a:lnTo>
                  <a:pt x="653597" y="527778"/>
                </a:lnTo>
                <a:lnTo>
                  <a:pt x="673920" y="487275"/>
                </a:lnTo>
                <a:lnTo>
                  <a:pt x="688955" y="443991"/>
                </a:lnTo>
                <a:lnTo>
                  <a:pt x="698282" y="398343"/>
                </a:lnTo>
                <a:lnTo>
                  <a:pt x="701484" y="350748"/>
                </a:lnTo>
                <a:lnTo>
                  <a:pt x="698282" y="303154"/>
                </a:lnTo>
                <a:lnTo>
                  <a:pt x="688955" y="257505"/>
                </a:lnTo>
                <a:lnTo>
                  <a:pt x="673920" y="214221"/>
                </a:lnTo>
                <a:lnTo>
                  <a:pt x="653597" y="173719"/>
                </a:lnTo>
                <a:lnTo>
                  <a:pt x="628401" y="136416"/>
                </a:lnTo>
                <a:lnTo>
                  <a:pt x="598752" y="102731"/>
                </a:lnTo>
                <a:lnTo>
                  <a:pt x="565067" y="73082"/>
                </a:lnTo>
                <a:lnTo>
                  <a:pt x="527765" y="47887"/>
                </a:lnTo>
                <a:lnTo>
                  <a:pt x="487263" y="27563"/>
                </a:lnTo>
                <a:lnTo>
                  <a:pt x="443978" y="12529"/>
                </a:lnTo>
                <a:lnTo>
                  <a:pt x="398330" y="3201"/>
                </a:lnTo>
                <a:lnTo>
                  <a:pt x="350735" y="0"/>
                </a:lnTo>
                <a:close/>
              </a:path>
            </a:pathLst>
          </a:custGeom>
          <a:solidFill>
            <a:srgbClr val="84B6A7"/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5" name="object 28">
            <a:extLst>
              <a:ext uri="{FF2B5EF4-FFF2-40B4-BE49-F238E27FC236}">
                <a16:creationId xmlns:a16="http://schemas.microsoft.com/office/drawing/2014/main" id="{4EE02527-B253-434B-82DE-F3671B2F0D67}"/>
              </a:ext>
            </a:extLst>
          </p:cNvPr>
          <p:cNvSpPr/>
          <p:nvPr/>
        </p:nvSpPr>
        <p:spPr>
          <a:xfrm>
            <a:off x="7339008" y="4513057"/>
            <a:ext cx="288614" cy="305226"/>
          </a:xfrm>
          <a:custGeom>
            <a:avLst/>
            <a:gdLst/>
            <a:ahLst/>
            <a:cxnLst/>
            <a:rect l="l" t="t" r="r" b="b"/>
            <a:pathLst>
              <a:path w="701675" h="701675">
                <a:moveTo>
                  <a:pt x="350735" y="0"/>
                </a:moveTo>
                <a:lnTo>
                  <a:pt x="303144" y="3201"/>
                </a:lnTo>
                <a:lnTo>
                  <a:pt x="257498" y="12529"/>
                </a:lnTo>
                <a:lnTo>
                  <a:pt x="214216" y="27563"/>
                </a:lnTo>
                <a:lnTo>
                  <a:pt x="173715" y="47887"/>
                </a:lnTo>
                <a:lnTo>
                  <a:pt x="136414" y="73082"/>
                </a:lnTo>
                <a:lnTo>
                  <a:pt x="102730" y="102731"/>
                </a:lnTo>
                <a:lnTo>
                  <a:pt x="73081" y="136416"/>
                </a:lnTo>
                <a:lnTo>
                  <a:pt x="47886" y="173719"/>
                </a:lnTo>
                <a:lnTo>
                  <a:pt x="27563" y="214221"/>
                </a:lnTo>
                <a:lnTo>
                  <a:pt x="12529" y="257505"/>
                </a:lnTo>
                <a:lnTo>
                  <a:pt x="3201" y="303154"/>
                </a:lnTo>
                <a:lnTo>
                  <a:pt x="0" y="350748"/>
                </a:lnTo>
                <a:lnTo>
                  <a:pt x="3201" y="398343"/>
                </a:lnTo>
                <a:lnTo>
                  <a:pt x="12529" y="443991"/>
                </a:lnTo>
                <a:lnTo>
                  <a:pt x="27563" y="487275"/>
                </a:lnTo>
                <a:lnTo>
                  <a:pt x="47886" y="527778"/>
                </a:lnTo>
                <a:lnTo>
                  <a:pt x="73081" y="565080"/>
                </a:lnTo>
                <a:lnTo>
                  <a:pt x="102730" y="598765"/>
                </a:lnTo>
                <a:lnTo>
                  <a:pt x="136414" y="628414"/>
                </a:lnTo>
                <a:lnTo>
                  <a:pt x="173715" y="653609"/>
                </a:lnTo>
                <a:lnTo>
                  <a:pt x="214216" y="673933"/>
                </a:lnTo>
                <a:lnTo>
                  <a:pt x="257498" y="688968"/>
                </a:lnTo>
                <a:lnTo>
                  <a:pt x="303144" y="698295"/>
                </a:lnTo>
                <a:lnTo>
                  <a:pt x="350735" y="701497"/>
                </a:lnTo>
                <a:lnTo>
                  <a:pt x="398330" y="698295"/>
                </a:lnTo>
                <a:lnTo>
                  <a:pt x="443978" y="688968"/>
                </a:lnTo>
                <a:lnTo>
                  <a:pt x="487263" y="673933"/>
                </a:lnTo>
                <a:lnTo>
                  <a:pt x="527765" y="653609"/>
                </a:lnTo>
                <a:lnTo>
                  <a:pt x="565067" y="628414"/>
                </a:lnTo>
                <a:lnTo>
                  <a:pt x="598752" y="598765"/>
                </a:lnTo>
                <a:lnTo>
                  <a:pt x="628401" y="565080"/>
                </a:lnTo>
                <a:lnTo>
                  <a:pt x="653597" y="527778"/>
                </a:lnTo>
                <a:lnTo>
                  <a:pt x="673920" y="487275"/>
                </a:lnTo>
                <a:lnTo>
                  <a:pt x="688955" y="443991"/>
                </a:lnTo>
                <a:lnTo>
                  <a:pt x="698282" y="398343"/>
                </a:lnTo>
                <a:lnTo>
                  <a:pt x="701484" y="350748"/>
                </a:lnTo>
                <a:lnTo>
                  <a:pt x="698282" y="303154"/>
                </a:lnTo>
                <a:lnTo>
                  <a:pt x="688955" y="257505"/>
                </a:lnTo>
                <a:lnTo>
                  <a:pt x="673920" y="214221"/>
                </a:lnTo>
                <a:lnTo>
                  <a:pt x="653597" y="173719"/>
                </a:lnTo>
                <a:lnTo>
                  <a:pt x="628401" y="136416"/>
                </a:lnTo>
                <a:lnTo>
                  <a:pt x="598752" y="102731"/>
                </a:lnTo>
                <a:lnTo>
                  <a:pt x="565067" y="73082"/>
                </a:lnTo>
                <a:lnTo>
                  <a:pt x="527765" y="47887"/>
                </a:lnTo>
                <a:lnTo>
                  <a:pt x="487263" y="27563"/>
                </a:lnTo>
                <a:lnTo>
                  <a:pt x="443978" y="12529"/>
                </a:lnTo>
                <a:lnTo>
                  <a:pt x="398330" y="3201"/>
                </a:lnTo>
                <a:lnTo>
                  <a:pt x="350735" y="0"/>
                </a:lnTo>
                <a:close/>
              </a:path>
            </a:pathLst>
          </a:custGeom>
          <a:solidFill>
            <a:srgbClr val="84B6A7"/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6" name="object 28">
            <a:extLst>
              <a:ext uri="{FF2B5EF4-FFF2-40B4-BE49-F238E27FC236}">
                <a16:creationId xmlns:a16="http://schemas.microsoft.com/office/drawing/2014/main" id="{48749ED3-3938-442A-9E0A-ACCDA7AD86BE}"/>
              </a:ext>
            </a:extLst>
          </p:cNvPr>
          <p:cNvSpPr/>
          <p:nvPr/>
        </p:nvSpPr>
        <p:spPr>
          <a:xfrm>
            <a:off x="5700423" y="2954762"/>
            <a:ext cx="288614" cy="305226"/>
          </a:xfrm>
          <a:custGeom>
            <a:avLst/>
            <a:gdLst/>
            <a:ahLst/>
            <a:cxnLst/>
            <a:rect l="l" t="t" r="r" b="b"/>
            <a:pathLst>
              <a:path w="701675" h="701675">
                <a:moveTo>
                  <a:pt x="350735" y="0"/>
                </a:moveTo>
                <a:lnTo>
                  <a:pt x="303144" y="3201"/>
                </a:lnTo>
                <a:lnTo>
                  <a:pt x="257498" y="12529"/>
                </a:lnTo>
                <a:lnTo>
                  <a:pt x="214216" y="27563"/>
                </a:lnTo>
                <a:lnTo>
                  <a:pt x="173715" y="47887"/>
                </a:lnTo>
                <a:lnTo>
                  <a:pt x="136414" y="73082"/>
                </a:lnTo>
                <a:lnTo>
                  <a:pt x="102730" y="102731"/>
                </a:lnTo>
                <a:lnTo>
                  <a:pt x="73081" y="136416"/>
                </a:lnTo>
                <a:lnTo>
                  <a:pt x="47886" y="173719"/>
                </a:lnTo>
                <a:lnTo>
                  <a:pt x="27563" y="214221"/>
                </a:lnTo>
                <a:lnTo>
                  <a:pt x="12529" y="257505"/>
                </a:lnTo>
                <a:lnTo>
                  <a:pt x="3201" y="303154"/>
                </a:lnTo>
                <a:lnTo>
                  <a:pt x="0" y="350748"/>
                </a:lnTo>
                <a:lnTo>
                  <a:pt x="3201" y="398343"/>
                </a:lnTo>
                <a:lnTo>
                  <a:pt x="12529" y="443991"/>
                </a:lnTo>
                <a:lnTo>
                  <a:pt x="27563" y="487275"/>
                </a:lnTo>
                <a:lnTo>
                  <a:pt x="47886" y="527778"/>
                </a:lnTo>
                <a:lnTo>
                  <a:pt x="73081" y="565080"/>
                </a:lnTo>
                <a:lnTo>
                  <a:pt x="102730" y="598765"/>
                </a:lnTo>
                <a:lnTo>
                  <a:pt x="136414" y="628414"/>
                </a:lnTo>
                <a:lnTo>
                  <a:pt x="173715" y="653609"/>
                </a:lnTo>
                <a:lnTo>
                  <a:pt x="214216" y="673933"/>
                </a:lnTo>
                <a:lnTo>
                  <a:pt x="257498" y="688968"/>
                </a:lnTo>
                <a:lnTo>
                  <a:pt x="303144" y="698295"/>
                </a:lnTo>
                <a:lnTo>
                  <a:pt x="350735" y="701497"/>
                </a:lnTo>
                <a:lnTo>
                  <a:pt x="398330" y="698295"/>
                </a:lnTo>
                <a:lnTo>
                  <a:pt x="443978" y="688968"/>
                </a:lnTo>
                <a:lnTo>
                  <a:pt x="487263" y="673933"/>
                </a:lnTo>
                <a:lnTo>
                  <a:pt x="527765" y="653609"/>
                </a:lnTo>
                <a:lnTo>
                  <a:pt x="565067" y="628414"/>
                </a:lnTo>
                <a:lnTo>
                  <a:pt x="598752" y="598765"/>
                </a:lnTo>
                <a:lnTo>
                  <a:pt x="628401" y="565080"/>
                </a:lnTo>
                <a:lnTo>
                  <a:pt x="653597" y="527778"/>
                </a:lnTo>
                <a:lnTo>
                  <a:pt x="673920" y="487275"/>
                </a:lnTo>
                <a:lnTo>
                  <a:pt x="688955" y="443991"/>
                </a:lnTo>
                <a:lnTo>
                  <a:pt x="698282" y="398343"/>
                </a:lnTo>
                <a:lnTo>
                  <a:pt x="701484" y="350748"/>
                </a:lnTo>
                <a:lnTo>
                  <a:pt x="698282" y="303154"/>
                </a:lnTo>
                <a:lnTo>
                  <a:pt x="688955" y="257505"/>
                </a:lnTo>
                <a:lnTo>
                  <a:pt x="673920" y="214221"/>
                </a:lnTo>
                <a:lnTo>
                  <a:pt x="653597" y="173719"/>
                </a:lnTo>
                <a:lnTo>
                  <a:pt x="628401" y="136416"/>
                </a:lnTo>
                <a:lnTo>
                  <a:pt x="598752" y="102731"/>
                </a:lnTo>
                <a:lnTo>
                  <a:pt x="565067" y="73082"/>
                </a:lnTo>
                <a:lnTo>
                  <a:pt x="527765" y="47887"/>
                </a:lnTo>
                <a:lnTo>
                  <a:pt x="487263" y="27563"/>
                </a:lnTo>
                <a:lnTo>
                  <a:pt x="443978" y="12529"/>
                </a:lnTo>
                <a:lnTo>
                  <a:pt x="398330" y="3201"/>
                </a:lnTo>
                <a:lnTo>
                  <a:pt x="350735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279A401-3A4D-46EC-BFE8-8A5C08568CBD}"/>
              </a:ext>
            </a:extLst>
          </p:cNvPr>
          <p:cNvCxnSpPr/>
          <p:nvPr/>
        </p:nvCxnSpPr>
        <p:spPr>
          <a:xfrm flipH="1">
            <a:off x="3186430" y="4686169"/>
            <a:ext cx="940476" cy="0"/>
          </a:xfrm>
          <a:prstGeom prst="line">
            <a:avLst/>
          </a:prstGeom>
          <a:ln w="28575"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DE3716D1-8011-4089-A64E-702A716FBFA4}"/>
              </a:ext>
            </a:extLst>
          </p:cNvPr>
          <p:cNvCxnSpPr>
            <a:cxnSpLocks/>
          </p:cNvCxnSpPr>
          <p:nvPr/>
        </p:nvCxnSpPr>
        <p:spPr>
          <a:xfrm flipH="1">
            <a:off x="7624776" y="4647655"/>
            <a:ext cx="1111529" cy="18015"/>
          </a:xfrm>
          <a:prstGeom prst="line">
            <a:avLst/>
          </a:prstGeom>
          <a:ln w="28575"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BAB01E8-05BC-4CE0-ABA0-ACDCD3D33B0C}"/>
              </a:ext>
            </a:extLst>
          </p:cNvPr>
          <p:cNvCxnSpPr>
            <a:cxnSpLocks/>
          </p:cNvCxnSpPr>
          <p:nvPr/>
        </p:nvCxnSpPr>
        <p:spPr>
          <a:xfrm>
            <a:off x="5844729" y="2276051"/>
            <a:ext cx="1" cy="678711"/>
          </a:xfrm>
          <a:prstGeom prst="line">
            <a:avLst/>
          </a:prstGeom>
          <a:ln w="28575"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80" name="Picture 79">
            <a:extLst>
              <a:ext uri="{FF2B5EF4-FFF2-40B4-BE49-F238E27FC236}">
                <a16:creationId xmlns:a16="http://schemas.microsoft.com/office/drawing/2014/main" id="{607E4941-A2FC-480D-9526-164CA63FE1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72" b="89888" l="8750" r="90000">
                        <a14:foregroundMark x1="8750" y1="25281" x2="9625" y2="3665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6284" y="1053410"/>
            <a:ext cx="1615761" cy="143802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ABCD84CD-AF05-4CC4-80F6-E63028BE42E7}"/>
              </a:ext>
            </a:extLst>
          </p:cNvPr>
          <p:cNvSpPr txBox="1"/>
          <p:nvPr/>
        </p:nvSpPr>
        <p:spPr bwMode="auto">
          <a:xfrm>
            <a:off x="2072811" y="5720245"/>
            <a:ext cx="2377820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800" b="1" i="1" kern="0" baseline="0" dirty="0">
                <a:latin typeface="+mn-lt"/>
                <a:ea typeface="+mn-ea"/>
                <a:cs typeface="+mn-cs"/>
              </a:rPr>
              <a:t>Text Classification 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F0792D9-8C1D-4BF5-9D82-F559ED79F2CC}"/>
              </a:ext>
            </a:extLst>
          </p:cNvPr>
          <p:cNvSpPr txBox="1"/>
          <p:nvPr/>
        </p:nvSpPr>
        <p:spPr bwMode="auto">
          <a:xfrm>
            <a:off x="8209558" y="5726333"/>
            <a:ext cx="2232248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800" b="1" i="1" kern="0" baseline="0" dirty="0">
                <a:latin typeface="+mn-lt"/>
                <a:ea typeface="+mn-ea"/>
                <a:cs typeface="+mn-cs"/>
              </a:rPr>
              <a:t>Text Generation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65828F3-C1BE-4BCD-860E-293F651A6AA7}"/>
              </a:ext>
            </a:extLst>
          </p:cNvPr>
          <p:cNvSpPr txBox="1"/>
          <p:nvPr/>
        </p:nvSpPr>
        <p:spPr bwMode="auto">
          <a:xfrm>
            <a:off x="3173107" y="1530527"/>
            <a:ext cx="2377820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800" b="1" i="1" kern="0" baseline="0" dirty="0">
                <a:latin typeface="+mn-lt"/>
                <a:ea typeface="+mn-ea"/>
                <a:cs typeface="+mn-cs"/>
              </a:rPr>
              <a:t>Text Translation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6E6EBA5B-E6C9-494E-BCEA-7864FFA95D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898" b="90102" l="10000" r="90306">
                        <a14:foregroundMark x1="53878" y1="52041" x2="53878" y2="52041"/>
                        <a14:foregroundMark x1="46735" y1="49898" x2="46122" y2="58367"/>
                        <a14:foregroundMark x1="46122" y1="58367" x2="46327" y2="50612"/>
                        <a14:foregroundMark x1="46327" y1="50612" x2="46429" y2="50204"/>
                        <a14:foregroundMark x1="51224" y1="44286" x2="51429" y2="46122"/>
                        <a14:foregroundMark x1="55102" y1="52449" x2="50204" y2="57347"/>
                        <a14:foregroundMark x1="50204" y1="57347" x2="55816" y2="61633"/>
                        <a14:foregroundMark x1="55816" y1="61633" x2="57449" y2="59592"/>
                        <a14:foregroundMark x1="68265" y1="82245" x2="68469" y2="82449"/>
                        <a14:foregroundMark x1="78061" y1="82959" x2="76531" y2="84796"/>
                        <a14:foregroundMark x1="20204" y1="84592" x2="26837" y2="84592"/>
                        <a14:foregroundMark x1="21020" y1="81735" x2="29592" y2="80306"/>
                        <a14:foregroundMark x1="45714" y1="13776" x2="53776" y2="12959"/>
                        <a14:foregroundMark x1="53776" y1="12959" x2="51224" y2="16327"/>
                        <a14:foregroundMark x1="43367" y1="9898" x2="47245" y2="9898"/>
                        <a14:foregroundMark x1="90306" y1="89694" x2="86735" y2="90102"/>
                        <a14:foregroundMark x1="49898" y1="17347" x2="52959" y2="1724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4504" y="3769157"/>
            <a:ext cx="1700808" cy="1700808"/>
          </a:xfrm>
          <a:prstGeom prst="rect">
            <a:avLst/>
          </a:prstGeom>
        </p:spPr>
      </p:pic>
      <p:sp>
        <p:nvSpPr>
          <p:cNvPr id="91" name="Thought Bubble: Cloud 90">
            <a:extLst>
              <a:ext uri="{FF2B5EF4-FFF2-40B4-BE49-F238E27FC236}">
                <a16:creationId xmlns:a16="http://schemas.microsoft.com/office/drawing/2014/main" id="{7E94410D-330B-40DD-A6FF-E11413F565B4}"/>
              </a:ext>
            </a:extLst>
          </p:cNvPr>
          <p:cNvSpPr/>
          <p:nvPr/>
        </p:nvSpPr>
        <p:spPr bwMode="auto">
          <a:xfrm>
            <a:off x="515301" y="2463841"/>
            <a:ext cx="2581877" cy="1305316"/>
          </a:xfrm>
          <a:prstGeom prst="cloudCallout">
            <a:avLst>
              <a:gd name="adj1" fmla="val 20340"/>
              <a:gd name="adj2" fmla="val 78983"/>
            </a:avLst>
          </a:prstGeom>
          <a:solidFill>
            <a:schemeClr val="tx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aseline="0" dirty="0">
                <a:solidFill>
                  <a:schemeClr val="bg1"/>
                </a:solidFill>
                <a:latin typeface="+mn-lt"/>
              </a:rPr>
              <a:t>Spam detection,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dirty="0">
                <a:solidFill>
                  <a:schemeClr val="bg1"/>
                </a:solidFill>
                <a:latin typeface="+mn-lt"/>
              </a:rPr>
              <a:t>Sentiment Analysis..</a:t>
            </a:r>
            <a:endParaRPr lang="en-IN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2" name="Thought Bubble: Cloud 91">
            <a:extLst>
              <a:ext uri="{FF2B5EF4-FFF2-40B4-BE49-F238E27FC236}">
                <a16:creationId xmlns:a16="http://schemas.microsoft.com/office/drawing/2014/main" id="{590B45DF-6681-4078-BC47-30EF8C1A1C45}"/>
              </a:ext>
            </a:extLst>
          </p:cNvPr>
          <p:cNvSpPr/>
          <p:nvPr/>
        </p:nvSpPr>
        <p:spPr bwMode="auto">
          <a:xfrm>
            <a:off x="6702045" y="1338853"/>
            <a:ext cx="2581877" cy="1305316"/>
          </a:xfrm>
          <a:prstGeom prst="cloudCallout">
            <a:avLst>
              <a:gd name="adj1" fmla="val -59501"/>
              <a:gd name="adj2" fmla="val -28570"/>
            </a:avLst>
          </a:prstGeom>
          <a:solidFill>
            <a:schemeClr val="tx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Language Translation (ex- English to French)..</a:t>
            </a:r>
          </a:p>
        </p:txBody>
      </p:sp>
      <p:sp>
        <p:nvSpPr>
          <p:cNvPr id="93" name="Thought Bubble: Cloud 92">
            <a:extLst>
              <a:ext uri="{FF2B5EF4-FFF2-40B4-BE49-F238E27FC236}">
                <a16:creationId xmlns:a16="http://schemas.microsoft.com/office/drawing/2014/main" id="{45A3B1D2-2A5A-4CB7-92E0-B4A7A0148192}"/>
              </a:ext>
            </a:extLst>
          </p:cNvPr>
          <p:cNvSpPr/>
          <p:nvPr/>
        </p:nvSpPr>
        <p:spPr bwMode="auto">
          <a:xfrm>
            <a:off x="9158964" y="2554005"/>
            <a:ext cx="2581877" cy="1305316"/>
          </a:xfrm>
          <a:prstGeom prst="cloudCallout">
            <a:avLst>
              <a:gd name="adj1" fmla="val -21357"/>
              <a:gd name="adj2" fmla="val 79190"/>
            </a:avLst>
          </a:prstGeom>
          <a:solidFill>
            <a:schemeClr val="tx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dirty="0">
                <a:solidFill>
                  <a:schemeClr val="bg1"/>
                </a:solidFill>
                <a:latin typeface="+mn-lt"/>
              </a:rPr>
              <a:t>Chat Bots,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baseline="0" dirty="0">
                <a:solidFill>
                  <a:schemeClr val="bg1"/>
                </a:solidFill>
                <a:latin typeface="+mn-lt"/>
              </a:rPr>
              <a:t>Summarization..</a:t>
            </a:r>
          </a:p>
        </p:txBody>
      </p:sp>
      <p:pic>
        <p:nvPicPr>
          <p:cNvPr id="6" name="Picture 5" descr="A diagram of a article&#10;&#10;Description automatically generated">
            <a:extLst>
              <a:ext uri="{FF2B5EF4-FFF2-40B4-BE49-F238E27FC236}">
                <a16:creationId xmlns:a16="http://schemas.microsoft.com/office/drawing/2014/main" id="{EC42C598-24CC-BFBB-268E-97EF9D382A5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85" r="26222"/>
          <a:stretch/>
        </p:blipFill>
        <p:spPr>
          <a:xfrm>
            <a:off x="1665595" y="4074156"/>
            <a:ext cx="1507512" cy="11910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B3D80A7-3722-4229-A0AC-C7B0F3B7CDBB}"/>
              </a:ext>
            </a:extLst>
          </p:cNvPr>
          <p:cNvSpPr txBox="1"/>
          <p:nvPr/>
        </p:nvSpPr>
        <p:spPr bwMode="auto">
          <a:xfrm>
            <a:off x="8112224" y="6453336"/>
            <a:ext cx="337396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kern="0" baseline="0" dirty="0">
                <a:latin typeface="+mn-lt"/>
                <a:ea typeface="+mn-ea"/>
                <a:cs typeface="+mn-cs"/>
                <a:hlinkClick r:id="rId7"/>
              </a:rPr>
              <a:t>[Reference1] [</a:t>
            </a:r>
            <a:r>
              <a:rPr lang="en-IN" kern="0" baseline="0" dirty="0">
                <a:latin typeface="+mn-lt"/>
                <a:ea typeface="+mn-ea"/>
                <a:cs typeface="+mn-cs"/>
                <a:hlinkClick r:id="rId8"/>
              </a:rPr>
              <a:t>Reference2]</a:t>
            </a:r>
            <a:r>
              <a:rPr lang="en-IN" kern="0" baseline="0" dirty="0">
                <a:latin typeface="+mn-lt"/>
                <a:ea typeface="+mn-ea"/>
                <a:cs typeface="+mn-cs"/>
              </a:rPr>
              <a:t> </a:t>
            </a:r>
            <a:r>
              <a:rPr lang="en-IN" kern="0" baseline="0" dirty="0">
                <a:latin typeface="+mn-lt"/>
                <a:ea typeface="+mn-ea"/>
                <a:cs typeface="+mn-cs"/>
                <a:hlinkClick r:id="rId9"/>
              </a:rPr>
              <a:t>[Reference3]</a:t>
            </a:r>
            <a:endParaRPr lang="en-IN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6896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5" grpId="0" animBg="1"/>
      <p:bldP spid="56" grpId="0" animBg="1"/>
      <p:bldP spid="83" grpId="0"/>
      <p:bldP spid="84" grpId="0"/>
      <p:bldP spid="85" grpId="0"/>
      <p:bldP spid="91" grpId="0" animBg="1"/>
      <p:bldP spid="92" grpId="0" animBg="1"/>
      <p:bldP spid="9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DBD4E-6BDA-4C54-9216-B37057FB5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Agenda</a:t>
            </a:r>
          </a:p>
        </p:txBody>
      </p:sp>
      <p:sp>
        <p:nvSpPr>
          <p:cNvPr id="27" name="MIO_AGENDA_ELEMENT_TITEL_4">
            <a:hlinkClick r:id="" action="ppaction://noaction"/>
            <a:extLst>
              <a:ext uri="{FF2B5EF4-FFF2-40B4-BE49-F238E27FC236}">
                <a16:creationId xmlns:a16="http://schemas.microsoft.com/office/drawing/2014/main" id="{5F7EE3AB-0A83-4648-A26A-22CC76D546A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1241679" y="3212655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The Magic of Words: Exploring NLP</a:t>
            </a:r>
          </a:p>
        </p:txBody>
      </p:sp>
      <p:sp>
        <p:nvSpPr>
          <p:cNvPr id="28" name="MIO_AGENDA_ELEMENT_TITEL_3">
            <a:hlinkClick r:id="" action="ppaction://noaction"/>
            <a:extLst>
              <a:ext uri="{FF2B5EF4-FFF2-40B4-BE49-F238E27FC236}">
                <a16:creationId xmlns:a16="http://schemas.microsoft.com/office/drawing/2014/main" id="{C5EDBFCD-C3A1-4E98-8496-82EECAE6FE2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241678" y="256655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/>
              <a:t>Understanding AI, ML, and DL</a:t>
            </a:r>
            <a:endParaRPr lang="en-US" sz="32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9" name="MIO_AGENDA_ELEMENT_TITEL_1">
            <a:hlinkClick r:id="" action="ppaction://noaction"/>
            <a:extLst>
              <a:ext uri="{FF2B5EF4-FFF2-40B4-BE49-F238E27FC236}">
                <a16:creationId xmlns:a16="http://schemas.microsoft.com/office/drawing/2014/main" id="{AFCAEBBB-21F5-4E7A-B2FF-33FEC0318CC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1235074" y="126841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Introduction</a:t>
            </a:r>
          </a:p>
        </p:txBody>
      </p:sp>
      <p:sp>
        <p:nvSpPr>
          <p:cNvPr id="30" name="MIO_AGENDA_ELEMENT_TITEL_2">
            <a:hlinkClick r:id="" action="ppaction://noaction"/>
            <a:extLst>
              <a:ext uri="{FF2B5EF4-FFF2-40B4-BE49-F238E27FC236}">
                <a16:creationId xmlns:a16="http://schemas.microsoft.com/office/drawing/2014/main" id="{0517FAAD-E521-41E5-A920-2B7BA63A921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235075" y="191649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cs typeface="Calibri" panose="020F0502020204030204" pitchFamily="34" charset="0"/>
              </a:rPr>
              <a:t>Our Diverse Expertise at Infineon</a:t>
            </a:r>
          </a:p>
        </p:txBody>
      </p:sp>
      <p:sp>
        <p:nvSpPr>
          <p:cNvPr id="31" name="MIO_AGENDA_ELEMENT_ELEMENTNUMBER_3">
            <a:hlinkClick r:id="" action="ppaction://noaction"/>
            <a:extLst>
              <a:ext uri="{FF2B5EF4-FFF2-40B4-BE49-F238E27FC236}">
                <a16:creationId xmlns:a16="http://schemas.microsoft.com/office/drawing/2014/main" id="{416C2E09-3F65-4DE1-9E70-B438F5D5008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34433" y="2564574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2" name="MIO_AGENDA_ELEMENT_ELEMENTNUMBER_4">
            <a:hlinkClick r:id="" action="ppaction://noaction"/>
            <a:extLst>
              <a:ext uri="{FF2B5EF4-FFF2-40B4-BE49-F238E27FC236}">
                <a16:creationId xmlns:a16="http://schemas.microsoft.com/office/drawing/2014/main" id="{7F08F1CC-69CF-401B-A20B-FFE24BE3CE2E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34433" y="3212655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4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9D5F54F9-CF45-495E-95FF-58411168B182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334433" y="191649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5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B81BB8D1-C42D-4126-8291-252C758E66F3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335360" y="126841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6" name="MIO_AGENDA_ELEMENT_TITEL_5">
            <a:hlinkClick r:id="" action="ppaction://noaction"/>
            <a:extLst>
              <a:ext uri="{FF2B5EF4-FFF2-40B4-BE49-F238E27FC236}">
                <a16:creationId xmlns:a16="http://schemas.microsoft.com/office/drawing/2014/main" id="{7FAB6CE2-DD0D-48D0-82C0-AA7CC07B53B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1235075" y="3860736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b="1" dirty="0">
                <a:latin typeface="+mn-lt"/>
                <a:cs typeface="Calibri" panose="020F0502020204030204" pitchFamily="34" charset="0"/>
              </a:rPr>
              <a:t>Generative AI &amp; LLM’s</a:t>
            </a:r>
          </a:p>
        </p:txBody>
      </p:sp>
      <p:sp>
        <p:nvSpPr>
          <p:cNvPr id="37" name="MIO_AGENDA_ELEMENT_ELEMENTNUMBER_5">
            <a:hlinkClick r:id="" action="ppaction://noaction"/>
            <a:extLst>
              <a:ext uri="{FF2B5EF4-FFF2-40B4-BE49-F238E27FC236}">
                <a16:creationId xmlns:a16="http://schemas.microsoft.com/office/drawing/2014/main" id="{CE77E5AB-3A7F-4455-8BF0-F8EA0126F171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334433" y="3860736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5</a:t>
            </a:r>
            <a:endParaRPr lang="en-US" sz="20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8" name="MIO_AGENDA_ELEMENT_TITEL_6">
            <a:hlinkClick r:id="" action="ppaction://noaction"/>
            <a:extLst>
              <a:ext uri="{FF2B5EF4-FFF2-40B4-BE49-F238E27FC236}">
                <a16:creationId xmlns:a16="http://schemas.microsoft.com/office/drawing/2014/main" id="{7CEBD169-3EFB-42F2-B856-3BED5F09E60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1235075" y="4508817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/>
              <a:t>From LLM’s to Agentic Systems</a:t>
            </a:r>
            <a:endParaRPr lang="en-US" sz="2000" dirty="0">
              <a:cs typeface="Calibri" panose="020F0502020204030204" pitchFamily="34" charset="0"/>
            </a:endParaRPr>
          </a:p>
        </p:txBody>
      </p:sp>
      <p:sp>
        <p:nvSpPr>
          <p:cNvPr id="39" name="MIO_AGENDA_ELEMENT_ELEMENTNUMBER_6">
            <a:hlinkClick r:id="" action="ppaction://noaction"/>
            <a:extLst>
              <a:ext uri="{FF2B5EF4-FFF2-40B4-BE49-F238E27FC236}">
                <a16:creationId xmlns:a16="http://schemas.microsoft.com/office/drawing/2014/main" id="{06FB1344-D58E-4AA7-B6D4-323DEDF397EB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334433" y="4508817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40" name="MIO_AGENDA_ELEMENT_TITEL_7">
            <a:hlinkClick r:id="" action="ppaction://noaction"/>
            <a:extLst>
              <a:ext uri="{FF2B5EF4-FFF2-40B4-BE49-F238E27FC236}">
                <a16:creationId xmlns:a16="http://schemas.microsoft.com/office/drawing/2014/main" id="{6EC1C474-5C66-46AA-B48D-B95355612F68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1235075" y="5156898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References &amp; Glossary</a:t>
            </a:r>
          </a:p>
        </p:txBody>
      </p:sp>
      <p:sp>
        <p:nvSpPr>
          <p:cNvPr id="41" name="MIO_AGENDA_ELEMENT_ELEMENTNUMBER_7">
            <a:hlinkClick r:id="" action="ppaction://noaction"/>
            <a:extLst>
              <a:ext uri="{FF2B5EF4-FFF2-40B4-BE49-F238E27FC236}">
                <a16:creationId xmlns:a16="http://schemas.microsoft.com/office/drawing/2014/main" id="{36BB4503-4CFC-444E-BD86-0E2BFCBB440D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334433" y="5156898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7</a:t>
            </a:r>
            <a:endParaRPr lang="en-US" sz="20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4639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EB9396C0-C8CA-45A8-A38D-1BEE33ED16E3}"/>
              </a:ext>
            </a:extLst>
          </p:cNvPr>
          <p:cNvSpPr/>
          <p:nvPr/>
        </p:nvSpPr>
        <p:spPr bwMode="auto">
          <a:xfrm>
            <a:off x="8192490" y="4725144"/>
            <a:ext cx="1755938" cy="1872208"/>
          </a:xfrm>
          <a:prstGeom prst="roundRect">
            <a:avLst/>
          </a:prstGeom>
          <a:noFill/>
          <a:ln w="9525">
            <a:solidFill>
              <a:schemeClr val="accent1"/>
            </a:solidFill>
            <a:prstDash val="lgDash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997B70-2782-440C-92E4-F68923030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70791"/>
            <a:ext cx="9613068" cy="720000"/>
          </a:xfrm>
        </p:spPr>
        <p:txBody>
          <a:bodyPr/>
          <a:lstStyle/>
          <a:p>
            <a:r>
              <a:rPr lang="en-IN" dirty="0">
                <a:latin typeface="+mn-lt"/>
              </a:rPr>
              <a:t>Generative A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868693C-B2A3-4E45-9717-8AF0B35AF39E}"/>
              </a:ext>
            </a:extLst>
          </p:cNvPr>
          <p:cNvSpPr txBox="1"/>
          <p:nvPr/>
        </p:nvSpPr>
        <p:spPr bwMode="auto">
          <a:xfrm>
            <a:off x="3791744" y="1467276"/>
            <a:ext cx="8044343" cy="1299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indent="-252000"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800" dirty="0">
                <a:latin typeface="+mn-lt"/>
              </a:rPr>
              <a:t>Generative AI is </a:t>
            </a:r>
            <a:r>
              <a:rPr lang="en-US" sz="1800" b="1" dirty="0">
                <a:latin typeface="+mn-lt"/>
              </a:rPr>
              <a:t>artificial intelligence capable of generating text, images, or other media, </a:t>
            </a:r>
            <a:r>
              <a:rPr lang="en-US" sz="1800" dirty="0">
                <a:latin typeface="+mn-lt"/>
              </a:rPr>
              <a:t>using </a:t>
            </a:r>
            <a:r>
              <a:rPr lang="en-US" sz="1800" b="1" i="1" u="sng" dirty="0">
                <a:latin typeface="+mn-lt"/>
              </a:rPr>
              <a:t>generative models </a:t>
            </a:r>
            <a:r>
              <a:rPr lang="en-US" sz="1800" dirty="0">
                <a:latin typeface="+mn-lt"/>
              </a:rPr>
              <a:t>based on its training data.</a:t>
            </a:r>
          </a:p>
          <a:p>
            <a:pPr marL="252000" indent="-252000"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</a:pPr>
            <a:endParaRPr lang="en-IN" sz="1800" dirty="0">
              <a:latin typeface="+mn-lt"/>
            </a:endParaRP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endParaRPr lang="en-IN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612C582-B515-49EF-A4A2-054C05326903}"/>
              </a:ext>
            </a:extLst>
          </p:cNvPr>
          <p:cNvSpPr/>
          <p:nvPr/>
        </p:nvSpPr>
        <p:spPr bwMode="auto">
          <a:xfrm>
            <a:off x="4527597" y="5348518"/>
            <a:ext cx="1334731" cy="1000684"/>
          </a:xfrm>
          <a:prstGeom prst="roundRect">
            <a:avLst/>
          </a:prstGeom>
          <a:solidFill>
            <a:srgbClr val="6CB4AD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78A1C65-A6DB-41B0-9C64-F57913128000}"/>
              </a:ext>
            </a:extLst>
          </p:cNvPr>
          <p:cNvSpPr/>
          <p:nvPr/>
        </p:nvSpPr>
        <p:spPr bwMode="auto">
          <a:xfrm>
            <a:off x="4522822" y="5352795"/>
            <a:ext cx="1339506" cy="493277"/>
          </a:xfrm>
          <a:prstGeom prst="round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dirty="0">
                <a:solidFill>
                  <a:schemeClr val="bg1"/>
                </a:solidFill>
                <a:latin typeface="+mn-lt"/>
              </a:rPr>
              <a:t>Generative Model</a:t>
            </a:r>
            <a:endParaRPr lang="en-IN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0D4C1282-3BB7-4E5F-8F2A-8BED05A4E90B}"/>
              </a:ext>
            </a:extLst>
          </p:cNvPr>
          <p:cNvSpPr/>
          <p:nvPr/>
        </p:nvSpPr>
        <p:spPr bwMode="auto">
          <a:xfrm>
            <a:off x="8468279" y="4851991"/>
            <a:ext cx="1204360" cy="662904"/>
          </a:xfrm>
          <a:prstGeom prst="roundRect">
            <a:avLst/>
          </a:prstGeom>
          <a:solidFill>
            <a:srgbClr val="9BBA43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New Conten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841237F-5B4E-4819-A1B5-1A1AF1412EDC}"/>
              </a:ext>
            </a:extLst>
          </p:cNvPr>
          <p:cNvSpPr txBox="1"/>
          <p:nvPr/>
        </p:nvSpPr>
        <p:spPr bwMode="auto">
          <a:xfrm>
            <a:off x="8696085" y="5609100"/>
            <a:ext cx="1287798" cy="751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kern="0" baseline="0" dirty="0">
                <a:latin typeface="+mn-lt"/>
                <a:ea typeface="+mn-ea"/>
                <a:cs typeface="+mn-cs"/>
              </a:rPr>
              <a:t>Text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kern="0" dirty="0">
                <a:latin typeface="+mn-lt"/>
              </a:rPr>
              <a:t>Images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kern="0" dirty="0">
                <a:latin typeface="+mn-lt"/>
              </a:rPr>
              <a:t>..</a:t>
            </a:r>
            <a:endParaRPr lang="en-IN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Arrow: Striped Right 22">
            <a:extLst>
              <a:ext uri="{FF2B5EF4-FFF2-40B4-BE49-F238E27FC236}">
                <a16:creationId xmlns:a16="http://schemas.microsoft.com/office/drawing/2014/main" id="{1F13C897-A60C-4A55-889B-FFB91D0385D4}"/>
              </a:ext>
            </a:extLst>
          </p:cNvPr>
          <p:cNvSpPr/>
          <p:nvPr/>
        </p:nvSpPr>
        <p:spPr bwMode="auto">
          <a:xfrm>
            <a:off x="3791744" y="2591950"/>
            <a:ext cx="708243" cy="992687"/>
          </a:xfrm>
          <a:prstGeom prst="stripedRightArrow">
            <a:avLst/>
          </a:prstGeom>
          <a:solidFill>
            <a:srgbClr val="B8DED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64BFE69-0288-4B5F-80E0-65F8CAC5BDA3}"/>
              </a:ext>
            </a:extLst>
          </p:cNvPr>
          <p:cNvSpPr txBox="1"/>
          <p:nvPr/>
        </p:nvSpPr>
        <p:spPr bwMode="auto">
          <a:xfrm>
            <a:off x="4801166" y="2786657"/>
            <a:ext cx="6614691" cy="634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800" i="1" kern="0" baseline="0" dirty="0">
                <a:latin typeface="+mn-lt"/>
                <a:ea typeface="+mn-ea"/>
                <a:cs typeface="+mn-cs"/>
              </a:rPr>
              <a:t>Source: Created with Gemini,  Prompt used – “How would Infineon be in next 15 years”</a:t>
            </a:r>
          </a:p>
        </p:txBody>
      </p:sp>
      <p:pic>
        <p:nvPicPr>
          <p:cNvPr id="9" name="AI">
            <a:extLst>
              <a:ext uri="{FF2B5EF4-FFF2-40B4-BE49-F238E27FC236}">
                <a16:creationId xmlns:a16="http://schemas.microsoft.com/office/drawing/2014/main" id="{6E11DCD5-8B34-AC5E-C89D-DED36AD7383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30689" y="5957060"/>
            <a:ext cx="484796" cy="37664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CA681E4-9E8D-BCD0-C11D-5D00D2ED8A4D}"/>
              </a:ext>
            </a:extLst>
          </p:cNvPr>
          <p:cNvSpPr/>
          <p:nvPr/>
        </p:nvSpPr>
        <p:spPr bwMode="auto">
          <a:xfrm>
            <a:off x="3973307" y="3777730"/>
            <a:ext cx="2376265" cy="1164055"/>
          </a:xfrm>
          <a:prstGeom prst="rect">
            <a:avLst/>
          </a:prstGeom>
          <a:gradFill>
            <a:gsLst>
              <a:gs pos="26000">
                <a:schemeClr val="bg2">
                  <a:lumMod val="75000"/>
                </a:schemeClr>
              </a:gs>
              <a:gs pos="0">
                <a:schemeClr val="accent2">
                  <a:lumMod val="75000"/>
                </a:schemeClr>
              </a:gs>
              <a:gs pos="83000">
                <a:schemeClr val="bg1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`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3BE45B-56A1-4EA4-895A-5C95C86FF862}"/>
              </a:ext>
            </a:extLst>
          </p:cNvPr>
          <p:cNvSpPr/>
          <p:nvPr/>
        </p:nvSpPr>
        <p:spPr>
          <a:xfrm>
            <a:off x="5332108" y="4077238"/>
            <a:ext cx="924177" cy="369332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8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A8276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DATA</a:t>
            </a:r>
            <a:endParaRPr lang="en-US" sz="18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rgbClr val="0A8276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19" name="Picture 18" descr="A green and black folder&#10;&#10;Description automatically generated">
            <a:extLst>
              <a:ext uri="{FF2B5EF4-FFF2-40B4-BE49-F238E27FC236}">
                <a16:creationId xmlns:a16="http://schemas.microsoft.com/office/drawing/2014/main" id="{57CB0F2F-FC4B-7C58-C531-BA0F4F775D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6946" y="4395209"/>
            <a:ext cx="493277" cy="493277"/>
          </a:xfrm>
          <a:prstGeom prst="rect">
            <a:avLst/>
          </a:prstGeom>
        </p:spPr>
      </p:pic>
      <p:pic>
        <p:nvPicPr>
          <p:cNvPr id="22" name="Picture 21" descr="A blue and black circular object&#10;&#10;Description automatically generated">
            <a:extLst>
              <a:ext uri="{FF2B5EF4-FFF2-40B4-BE49-F238E27FC236}">
                <a16:creationId xmlns:a16="http://schemas.microsoft.com/office/drawing/2014/main" id="{52C0C136-7C49-0CF3-8C1F-00B3143693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4355" y="3777731"/>
            <a:ext cx="599013" cy="599013"/>
          </a:xfrm>
          <a:prstGeom prst="rect">
            <a:avLst/>
          </a:prstGeom>
        </p:spPr>
      </p:pic>
      <p:pic>
        <p:nvPicPr>
          <p:cNvPr id="28" name="Picture 27" descr="A green and black file format&#10;&#10;Description automatically generated">
            <a:extLst>
              <a:ext uri="{FF2B5EF4-FFF2-40B4-BE49-F238E27FC236}">
                <a16:creationId xmlns:a16="http://schemas.microsoft.com/office/drawing/2014/main" id="{C0204E5D-96B3-022D-4BF1-C93F26F044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139" y="4412173"/>
            <a:ext cx="493278" cy="493278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C0636CE-DC97-7B4D-9818-28A2693E5E97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5192575" y="5016439"/>
            <a:ext cx="0" cy="33635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7270472-E5A2-EFE6-D7EB-2CE7D5A84DBA}"/>
              </a:ext>
            </a:extLst>
          </p:cNvPr>
          <p:cNvSpPr txBox="1"/>
          <p:nvPr/>
        </p:nvSpPr>
        <p:spPr bwMode="auto">
          <a:xfrm>
            <a:off x="5325558" y="5059564"/>
            <a:ext cx="2088231" cy="1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900" kern="0" baseline="0" dirty="0">
                <a:latin typeface="+mn-lt"/>
                <a:ea typeface="+mn-ea"/>
                <a:cs typeface="+mn-cs"/>
              </a:rPr>
              <a:t>Model trained on large amount of dat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7D6891E-6D6A-E5F0-073B-FAABC1C4A5FE}"/>
              </a:ext>
            </a:extLst>
          </p:cNvPr>
          <p:cNvSpPr txBox="1"/>
          <p:nvPr/>
        </p:nvSpPr>
        <p:spPr bwMode="auto">
          <a:xfrm>
            <a:off x="1478589" y="5555521"/>
            <a:ext cx="2233703" cy="634276"/>
          </a:xfrm>
          <a:prstGeom prst="rect">
            <a:avLst/>
          </a:prstGeom>
          <a:noFill/>
          <a:ln w="9525">
            <a:solidFill>
              <a:srgbClr val="9C216E"/>
            </a:solidFill>
            <a:prstDash val="lgDashDotDot"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800" b="1" kern="0" dirty="0">
                <a:solidFill>
                  <a:srgbClr val="0A8276"/>
                </a:solidFill>
                <a:latin typeface="+mn-lt"/>
              </a:rPr>
              <a:t>Prompt to generate a text, image etc.</a:t>
            </a:r>
            <a:endParaRPr lang="en-IN" sz="1800" b="1" kern="0" baseline="0" dirty="0">
              <a:solidFill>
                <a:srgbClr val="0A8276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1F67F09D-A57A-F52C-9B02-5D0566F3C92B}"/>
              </a:ext>
            </a:extLst>
          </p:cNvPr>
          <p:cNvCxnSpPr>
            <a:cxnSpLocks/>
          </p:cNvCxnSpPr>
          <p:nvPr/>
        </p:nvCxnSpPr>
        <p:spPr>
          <a:xfrm>
            <a:off x="3783247" y="5846072"/>
            <a:ext cx="663845" cy="27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A849BFF9-0F41-7D6E-30BF-BFA62860A29A}"/>
              </a:ext>
            </a:extLst>
          </p:cNvPr>
          <p:cNvCxnSpPr>
            <a:cxnSpLocks/>
          </p:cNvCxnSpPr>
          <p:nvPr/>
        </p:nvCxnSpPr>
        <p:spPr>
          <a:xfrm>
            <a:off x="6088838" y="5796670"/>
            <a:ext cx="180736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E353B3C-108C-42FE-A818-1B065854EA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7610" y="1266393"/>
            <a:ext cx="3375454" cy="33754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65788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22BB964-91EC-4E93-AB84-FB4ABBD18995}"/>
              </a:ext>
            </a:extLst>
          </p:cNvPr>
          <p:cNvCxnSpPr>
            <a:cxnSpLocks/>
            <a:stCxn id="7" idx="2"/>
            <a:endCxn id="23" idx="0"/>
          </p:cNvCxnSpPr>
          <p:nvPr/>
        </p:nvCxnSpPr>
        <p:spPr>
          <a:xfrm>
            <a:off x="4868052" y="1640185"/>
            <a:ext cx="0" cy="3603716"/>
          </a:xfrm>
          <a:prstGeom prst="line">
            <a:avLst/>
          </a:prstGeom>
          <a:ln w="571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EDCBD62-16A5-4BCD-9A75-C9F9A83DA9B5}"/>
              </a:ext>
            </a:extLst>
          </p:cNvPr>
          <p:cNvCxnSpPr>
            <a:cxnSpLocks/>
            <a:stCxn id="8" idx="2"/>
            <a:endCxn id="24" idx="0"/>
          </p:cNvCxnSpPr>
          <p:nvPr/>
        </p:nvCxnSpPr>
        <p:spPr>
          <a:xfrm>
            <a:off x="8596244" y="1640185"/>
            <a:ext cx="49107" cy="3602287"/>
          </a:xfrm>
          <a:prstGeom prst="line">
            <a:avLst/>
          </a:prstGeom>
          <a:ln w="571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9E45DD8A-FEEF-4352-8937-409AA2BB2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Traditional AI Vs Generative A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5726A0-EF93-49AC-A00B-7693CD9D7F6A}"/>
              </a:ext>
            </a:extLst>
          </p:cNvPr>
          <p:cNvSpPr/>
          <p:nvPr/>
        </p:nvSpPr>
        <p:spPr bwMode="auto">
          <a:xfrm>
            <a:off x="3319880" y="1907378"/>
            <a:ext cx="3096344" cy="900000"/>
          </a:xfrm>
          <a:prstGeom prst="rect">
            <a:avLst/>
          </a:prstGeom>
          <a:solidFill>
            <a:srgbClr val="B8DED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/>
            <a:r>
              <a:rPr lang="en-US" sz="1800" b="0" i="0" dirty="0">
                <a:effectLst/>
                <a:latin typeface="+mn-lt"/>
                <a:cs typeface="Calibri" panose="020F0502020204030204" pitchFamily="34" charset="0"/>
              </a:rPr>
              <a:t>Execute prede</a:t>
            </a:r>
            <a:r>
              <a:rPr lang="en-US" sz="1800" dirty="0">
                <a:latin typeface="+mn-lt"/>
                <a:cs typeface="Calibri" panose="020F0502020204030204" pitchFamily="34" charset="0"/>
              </a:rPr>
              <a:t>fined tasks based on some rules</a:t>
            </a:r>
            <a:endParaRPr lang="en-US" sz="1800" b="0" i="0" dirty="0">
              <a:effectLst/>
              <a:latin typeface="+mn-lt"/>
              <a:cs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8905771-72FE-42C6-8C43-074C14FC7E0B}"/>
              </a:ext>
            </a:extLst>
          </p:cNvPr>
          <p:cNvSpPr/>
          <p:nvPr/>
        </p:nvSpPr>
        <p:spPr bwMode="auto">
          <a:xfrm>
            <a:off x="6865946" y="1907378"/>
            <a:ext cx="3558807" cy="900000"/>
          </a:xfrm>
          <a:prstGeom prst="rect">
            <a:avLst/>
          </a:prstGeom>
          <a:solidFill>
            <a:srgbClr val="B8DED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US" sz="1800" dirty="0">
                <a:latin typeface="+mn-lt"/>
                <a:cs typeface="Calibri" panose="020F0502020204030204" pitchFamily="34" charset="0"/>
              </a:rPr>
              <a:t>C</a:t>
            </a:r>
            <a:r>
              <a:rPr lang="en-US" sz="1800" b="0" i="0" dirty="0">
                <a:effectLst/>
                <a:latin typeface="+mn-lt"/>
                <a:cs typeface="Calibri" panose="020F0502020204030204" pitchFamily="34" charset="0"/>
              </a:rPr>
              <a:t>reating new data samples that resemble real-world data</a:t>
            </a:r>
            <a:endParaRPr lang="en-IN" sz="1800" baseline="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ED3A236-F51D-4445-A175-8FF14FBD0070}"/>
              </a:ext>
            </a:extLst>
          </p:cNvPr>
          <p:cNvSpPr/>
          <p:nvPr/>
        </p:nvSpPr>
        <p:spPr bwMode="auto">
          <a:xfrm>
            <a:off x="3319880" y="1295498"/>
            <a:ext cx="3096344" cy="344687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IN" sz="2000" b="1" dirty="0">
                <a:latin typeface="+mn-lt"/>
                <a:cs typeface="Calibri" panose="020F0502020204030204" pitchFamily="34" charset="0"/>
              </a:rPr>
              <a:t>Traditional AI</a:t>
            </a:r>
            <a:endParaRPr lang="en-IN" sz="2000" b="1" baseline="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A16CCFD-8E40-485A-8B7C-C86817960FC5}"/>
              </a:ext>
            </a:extLst>
          </p:cNvPr>
          <p:cNvSpPr/>
          <p:nvPr/>
        </p:nvSpPr>
        <p:spPr bwMode="auto">
          <a:xfrm>
            <a:off x="6815824" y="1295498"/>
            <a:ext cx="3560840" cy="344687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IN" sz="2000" b="1" baseline="0" dirty="0">
                <a:latin typeface="+mn-lt"/>
                <a:cs typeface="Calibri" panose="020F0502020204030204" pitchFamily="34" charset="0"/>
              </a:rPr>
              <a:t>Generative AI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B5D87A4-6AB6-4D91-AD7F-3C2824DE3CB0}"/>
              </a:ext>
            </a:extLst>
          </p:cNvPr>
          <p:cNvSpPr/>
          <p:nvPr/>
        </p:nvSpPr>
        <p:spPr bwMode="auto">
          <a:xfrm>
            <a:off x="3319880" y="2981150"/>
            <a:ext cx="3096344" cy="900000"/>
          </a:xfrm>
          <a:prstGeom prst="rect">
            <a:avLst/>
          </a:prstGeom>
          <a:solidFill>
            <a:srgbClr val="B8DED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/>
            <a:r>
              <a:rPr lang="en-US" sz="1800" dirty="0">
                <a:latin typeface="+mn-lt"/>
                <a:cs typeface="Calibri" panose="020F0502020204030204" pitchFamily="34" charset="0"/>
              </a:rPr>
              <a:t>Supervised/ Rule Based learning</a:t>
            </a:r>
            <a:r>
              <a:rPr lang="en-US" sz="1800" b="0" i="0" dirty="0">
                <a:effectLst/>
                <a:latin typeface="+mn-lt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45F376D-6B4B-45CD-9B69-ACB7F027BD64}"/>
              </a:ext>
            </a:extLst>
          </p:cNvPr>
          <p:cNvSpPr/>
          <p:nvPr/>
        </p:nvSpPr>
        <p:spPr bwMode="auto">
          <a:xfrm>
            <a:off x="6877525" y="3017651"/>
            <a:ext cx="3558807" cy="900000"/>
          </a:xfrm>
          <a:prstGeom prst="rect">
            <a:avLst/>
          </a:prstGeom>
          <a:solidFill>
            <a:srgbClr val="B8DED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US" sz="1800" dirty="0">
                <a:latin typeface="+mn-lt"/>
                <a:cs typeface="Calibri" panose="020F0502020204030204" pitchFamily="34" charset="0"/>
              </a:rPr>
              <a:t>Unsupervised learning</a:t>
            </a:r>
            <a:endParaRPr lang="en-IN" sz="1800" baseline="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90D7583-83FB-45C3-81DF-F2B450EC237A}"/>
              </a:ext>
            </a:extLst>
          </p:cNvPr>
          <p:cNvSpPr/>
          <p:nvPr/>
        </p:nvSpPr>
        <p:spPr bwMode="auto">
          <a:xfrm>
            <a:off x="3347540" y="4112525"/>
            <a:ext cx="3096344" cy="900000"/>
          </a:xfrm>
          <a:prstGeom prst="rect">
            <a:avLst/>
          </a:prstGeom>
          <a:solidFill>
            <a:srgbClr val="B8DED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/>
            <a:r>
              <a:rPr lang="en-US" sz="1800" dirty="0">
                <a:latin typeface="+mn-lt"/>
                <a:cs typeface="Calibri" panose="020F0502020204030204" pitchFamily="34" charset="0"/>
              </a:rPr>
              <a:t>Relies on labeled data for training</a:t>
            </a:r>
            <a:endParaRPr lang="en-US" sz="1800" b="0" i="0" dirty="0">
              <a:effectLst/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139A69C-6623-49D7-93EA-A9CFF71654BC}"/>
              </a:ext>
            </a:extLst>
          </p:cNvPr>
          <p:cNvSpPr/>
          <p:nvPr/>
        </p:nvSpPr>
        <p:spPr bwMode="auto">
          <a:xfrm>
            <a:off x="6865947" y="4127925"/>
            <a:ext cx="3558807" cy="900000"/>
          </a:xfrm>
          <a:prstGeom prst="rect">
            <a:avLst/>
          </a:prstGeom>
          <a:solidFill>
            <a:srgbClr val="B8DED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US" sz="1800" dirty="0">
                <a:latin typeface="+mn-lt"/>
                <a:cs typeface="Calibri" panose="020F0502020204030204" pitchFamily="34" charset="0"/>
              </a:rPr>
              <a:t>Requires Large datasets for training</a:t>
            </a:r>
            <a:endParaRPr lang="en-IN" sz="1800" baseline="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570175C-25FE-48E3-95DF-EBD9C26E3219}"/>
              </a:ext>
            </a:extLst>
          </p:cNvPr>
          <p:cNvSpPr/>
          <p:nvPr/>
        </p:nvSpPr>
        <p:spPr bwMode="auto">
          <a:xfrm>
            <a:off x="3319880" y="5243901"/>
            <a:ext cx="3096344" cy="900000"/>
          </a:xfrm>
          <a:prstGeom prst="rect">
            <a:avLst/>
          </a:prstGeom>
          <a:solidFill>
            <a:srgbClr val="B8DED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IN" sz="1800" dirty="0">
                <a:latin typeface="+mn-lt"/>
                <a:cs typeface="Calibri" panose="020F0502020204030204" pitchFamily="34" charset="0"/>
              </a:rPr>
              <a:t>Expert systems, Rule-base system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7758002-8DB2-411C-AEF9-6BC3370C4075}"/>
              </a:ext>
            </a:extLst>
          </p:cNvPr>
          <p:cNvSpPr/>
          <p:nvPr/>
        </p:nvSpPr>
        <p:spPr bwMode="auto">
          <a:xfrm>
            <a:off x="6865947" y="5242472"/>
            <a:ext cx="3558807" cy="900000"/>
          </a:xfrm>
          <a:prstGeom prst="rect">
            <a:avLst/>
          </a:prstGeom>
          <a:solidFill>
            <a:srgbClr val="B8DED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US" sz="1800" dirty="0">
                <a:latin typeface="+mn-lt"/>
                <a:cs typeface="Calibri" panose="020F0502020204030204" pitchFamily="34" charset="0"/>
              </a:rPr>
              <a:t>ChatGpt, Gemini, Co-pilot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58A41B7-30C4-4D5F-AFF3-72611638DB7A}"/>
              </a:ext>
            </a:extLst>
          </p:cNvPr>
          <p:cNvSpPr/>
          <p:nvPr/>
        </p:nvSpPr>
        <p:spPr bwMode="auto">
          <a:xfrm>
            <a:off x="839416" y="2087017"/>
            <a:ext cx="2019162" cy="654296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IN" sz="2000" b="1" dirty="0">
                <a:latin typeface="+mn-lt"/>
                <a:cs typeface="Calibri" panose="020F0502020204030204" pitchFamily="34" charset="0"/>
              </a:rPr>
              <a:t>Objective</a:t>
            </a:r>
            <a:endParaRPr lang="en-IN" sz="2000" b="1" baseline="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1CD8F7E8-B78D-4B2F-9796-1D1C70E35C86}"/>
              </a:ext>
            </a:extLst>
          </p:cNvPr>
          <p:cNvSpPr/>
          <p:nvPr/>
        </p:nvSpPr>
        <p:spPr bwMode="auto">
          <a:xfrm>
            <a:off x="839415" y="3181691"/>
            <a:ext cx="2019163" cy="654296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IN" sz="2000" b="1" dirty="0">
                <a:latin typeface="+mn-lt"/>
                <a:cs typeface="Calibri" panose="020F0502020204030204" pitchFamily="34" charset="0"/>
              </a:rPr>
              <a:t>Learning Approach</a:t>
            </a:r>
            <a:endParaRPr lang="en-IN" sz="2000" b="1" baseline="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66FBC81F-55F5-4BB8-BB0F-4B0C10B6CB54}"/>
              </a:ext>
            </a:extLst>
          </p:cNvPr>
          <p:cNvSpPr/>
          <p:nvPr/>
        </p:nvSpPr>
        <p:spPr bwMode="auto">
          <a:xfrm>
            <a:off x="839416" y="4127925"/>
            <a:ext cx="2019164" cy="802736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IN" sz="2000" b="1" dirty="0">
                <a:latin typeface="+mn-lt"/>
                <a:cs typeface="Calibri" panose="020F0502020204030204" pitchFamily="34" charset="0"/>
              </a:rPr>
              <a:t>Data Requirements</a:t>
            </a:r>
            <a:endParaRPr lang="en-IN" sz="2000" b="1" baseline="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68B1BE0-0309-4A55-A151-048E054145A5}"/>
              </a:ext>
            </a:extLst>
          </p:cNvPr>
          <p:cNvSpPr/>
          <p:nvPr/>
        </p:nvSpPr>
        <p:spPr bwMode="auto">
          <a:xfrm>
            <a:off x="834115" y="5337382"/>
            <a:ext cx="2019162" cy="654296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IN" sz="2000" b="1" dirty="0">
                <a:latin typeface="+mn-lt"/>
                <a:cs typeface="Calibri" panose="020F0502020204030204" pitchFamily="34" charset="0"/>
              </a:rPr>
              <a:t>Examples</a:t>
            </a:r>
            <a:endParaRPr lang="en-IN" sz="2000" b="1" baseline="0" dirty="0">
              <a:latin typeface="+mn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0339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F9AF24-FC6E-4987-B8D9-A0BDB4663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34931"/>
            <a:ext cx="9613068" cy="720000"/>
          </a:xfrm>
        </p:spPr>
        <p:txBody>
          <a:bodyPr/>
          <a:lstStyle/>
          <a:p>
            <a:r>
              <a:rPr lang="en-IN" dirty="0">
                <a:latin typeface="+mn-lt"/>
              </a:rPr>
              <a:t>Types of Generative Models </a:t>
            </a:r>
            <a:br>
              <a:rPr lang="en-IN" dirty="0">
                <a:latin typeface="+mn-lt"/>
              </a:rPr>
            </a:br>
            <a:r>
              <a:rPr lang="en-IN" b="0" i="1" dirty="0">
                <a:latin typeface="+mn-lt"/>
              </a:rPr>
              <a:t>Based on data they generate from text input</a:t>
            </a:r>
          </a:p>
        </p:txBody>
      </p:sp>
      <p:sp>
        <p:nvSpPr>
          <p:cNvPr id="37" name="Textplatzhalter 25">
            <a:extLst>
              <a:ext uri="{FF2B5EF4-FFF2-40B4-BE49-F238E27FC236}">
                <a16:creationId xmlns:a16="http://schemas.microsoft.com/office/drawing/2014/main" id="{7F842752-E476-4044-B746-35C9D1C6FD05}"/>
              </a:ext>
            </a:extLst>
          </p:cNvPr>
          <p:cNvSpPr txBox="1">
            <a:spLocks/>
          </p:cNvSpPr>
          <p:nvPr/>
        </p:nvSpPr>
        <p:spPr>
          <a:xfrm>
            <a:off x="621804" y="3860279"/>
            <a:ext cx="5330584" cy="431800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72000" bIns="72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000" dirty="0">
                <a:latin typeface="+mn-lt"/>
              </a:rPr>
              <a:t>Text-to-Code</a:t>
            </a:r>
          </a:p>
        </p:txBody>
      </p:sp>
      <p:sp>
        <p:nvSpPr>
          <p:cNvPr id="38" name="Textplatzhalter 26">
            <a:extLst>
              <a:ext uri="{FF2B5EF4-FFF2-40B4-BE49-F238E27FC236}">
                <a16:creationId xmlns:a16="http://schemas.microsoft.com/office/drawing/2014/main" id="{6B59A9CE-6634-4BC7-BFB3-8194343915AF}"/>
              </a:ext>
            </a:extLst>
          </p:cNvPr>
          <p:cNvSpPr txBox="1">
            <a:spLocks/>
          </p:cNvSpPr>
          <p:nvPr/>
        </p:nvSpPr>
        <p:spPr>
          <a:xfrm>
            <a:off x="6384032" y="3875504"/>
            <a:ext cx="5328592" cy="4318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72000" bIns="72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000" dirty="0">
                <a:latin typeface="+mn-lt"/>
              </a:rPr>
              <a:t>Text-to-Audio</a:t>
            </a:r>
          </a:p>
        </p:txBody>
      </p:sp>
      <p:sp>
        <p:nvSpPr>
          <p:cNvPr id="39" name="Textplatzhalter 17">
            <a:extLst>
              <a:ext uri="{FF2B5EF4-FFF2-40B4-BE49-F238E27FC236}">
                <a16:creationId xmlns:a16="http://schemas.microsoft.com/office/drawing/2014/main" id="{CD6BFF21-B1EE-48EB-8C75-A25EE7BEB8E6}"/>
              </a:ext>
            </a:extLst>
          </p:cNvPr>
          <p:cNvSpPr txBox="1">
            <a:spLocks/>
          </p:cNvSpPr>
          <p:nvPr/>
        </p:nvSpPr>
        <p:spPr>
          <a:xfrm>
            <a:off x="621804" y="1195388"/>
            <a:ext cx="5330584" cy="43180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72000" bIns="72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000" dirty="0">
                <a:latin typeface="+mn-lt"/>
              </a:rPr>
              <a:t>Text-to-Text</a:t>
            </a:r>
          </a:p>
        </p:txBody>
      </p:sp>
      <p:sp>
        <p:nvSpPr>
          <p:cNvPr id="40" name="Textplatzhalter 18">
            <a:extLst>
              <a:ext uri="{FF2B5EF4-FFF2-40B4-BE49-F238E27FC236}">
                <a16:creationId xmlns:a16="http://schemas.microsoft.com/office/drawing/2014/main" id="{015DE55B-8C89-4C06-93CB-27ED43BEEA49}"/>
              </a:ext>
            </a:extLst>
          </p:cNvPr>
          <p:cNvSpPr txBox="1">
            <a:spLocks/>
          </p:cNvSpPr>
          <p:nvPr/>
        </p:nvSpPr>
        <p:spPr>
          <a:xfrm>
            <a:off x="6384032" y="1210613"/>
            <a:ext cx="5328592" cy="43180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72000" bIns="72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000" dirty="0">
                <a:latin typeface="+mn-lt"/>
              </a:rPr>
              <a:t>Text-to-Image</a:t>
            </a:r>
          </a:p>
        </p:txBody>
      </p:sp>
      <p:sp>
        <p:nvSpPr>
          <p:cNvPr id="41" name="Inhaltsplatzhalter 28">
            <a:extLst>
              <a:ext uri="{FF2B5EF4-FFF2-40B4-BE49-F238E27FC236}">
                <a16:creationId xmlns:a16="http://schemas.microsoft.com/office/drawing/2014/main" id="{56A04CD2-1B8E-4D24-B800-E1A69066C808}"/>
              </a:ext>
            </a:extLst>
          </p:cNvPr>
          <p:cNvSpPr txBox="1">
            <a:spLocks/>
          </p:cNvSpPr>
          <p:nvPr/>
        </p:nvSpPr>
        <p:spPr>
          <a:xfrm>
            <a:off x="623392" y="4365203"/>
            <a:ext cx="5328592" cy="19431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effectLst/>
        </p:spPr>
        <p:txBody>
          <a:bodyPr vert="horz" lIns="108000" tIns="324000" rIns="90000" bIns="46800" rtlCol="0" anchor="t">
            <a:noAutofit/>
          </a:bodyPr>
          <a:lstStyle/>
          <a:p>
            <a:pPr marL="285750" lvl="0" indent="-285750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 kern="0">
                <a:latin typeface="+mn-lt"/>
                <a:ea typeface="Verdana" pitchFamily="34" charset="0"/>
                <a:cs typeface="Arial" panose="020B0604020202020204" pitchFamily="34" charset="0"/>
              </a:rPr>
              <a:t>Codex</a:t>
            </a:r>
          </a:p>
          <a:p>
            <a:pPr marL="285750" lvl="0" indent="-285750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 kern="0">
                <a:latin typeface="+mn-lt"/>
                <a:ea typeface="Verdana" pitchFamily="34" charset="0"/>
                <a:cs typeface="Arial" panose="020B0604020202020204" pitchFamily="34" charset="0"/>
              </a:rPr>
              <a:t>AphaCode</a:t>
            </a:r>
            <a:endParaRPr lang="en-IN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2" name="Inhaltsplatzhalter 27">
            <a:extLst>
              <a:ext uri="{FF2B5EF4-FFF2-40B4-BE49-F238E27FC236}">
                <a16:creationId xmlns:a16="http://schemas.microsoft.com/office/drawing/2014/main" id="{C79DB72A-73DE-4F48-9CF8-DD5C64B20C6B}"/>
              </a:ext>
            </a:extLst>
          </p:cNvPr>
          <p:cNvSpPr txBox="1">
            <a:spLocks/>
          </p:cNvSpPr>
          <p:nvPr/>
        </p:nvSpPr>
        <p:spPr>
          <a:xfrm>
            <a:off x="6384032" y="4380428"/>
            <a:ext cx="5328592" cy="19431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effectLst/>
        </p:spPr>
        <p:txBody>
          <a:bodyPr vert="horz" lIns="108000" tIns="324000" rIns="90000" bIns="46800" rtlCol="0" anchor="t">
            <a:noAutofit/>
          </a:bodyPr>
          <a:lstStyle/>
          <a:p>
            <a:pPr marL="285750" lvl="0" indent="-285750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>
                <a:latin typeface="+mn-lt"/>
                <a:cs typeface="Arial" panose="020B0604020202020204" pitchFamily="34" charset="0"/>
              </a:rPr>
              <a:t>AutoLM</a:t>
            </a:r>
          </a:p>
          <a:p>
            <a:pPr marL="285750" lvl="0" indent="-285750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>
                <a:latin typeface="+mn-lt"/>
                <a:cs typeface="Arial" panose="020B0604020202020204" pitchFamily="34" charset="0"/>
              </a:rPr>
              <a:t>LukeBox</a:t>
            </a:r>
            <a:endParaRPr lang="en-US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3" name="Inhaltsplatzhalter 30">
            <a:extLst>
              <a:ext uri="{FF2B5EF4-FFF2-40B4-BE49-F238E27FC236}">
                <a16:creationId xmlns:a16="http://schemas.microsoft.com/office/drawing/2014/main" id="{5BFC69F3-8A04-466D-91CC-D8AFEA7E7190}"/>
              </a:ext>
            </a:extLst>
          </p:cNvPr>
          <p:cNvSpPr txBox="1">
            <a:spLocks/>
          </p:cNvSpPr>
          <p:nvPr/>
        </p:nvSpPr>
        <p:spPr>
          <a:xfrm>
            <a:off x="6384032" y="1715438"/>
            <a:ext cx="5328592" cy="19431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effectLst/>
        </p:spPr>
        <p:txBody>
          <a:bodyPr vert="horz" lIns="108000" tIns="46800" rIns="90000" bIns="46800" rtlCol="0" anchor="t">
            <a:no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latin typeface="+mn-lt"/>
                <a:cs typeface="Arial" panose="020B0604020202020204" pitchFamily="34" charset="0"/>
              </a:rPr>
              <a:t>Midjourney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latin typeface="+mn-lt"/>
                <a:cs typeface="Arial" panose="020B0604020202020204" pitchFamily="34" charset="0"/>
              </a:rPr>
              <a:t>DALL-E	3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latin typeface="+mn-lt"/>
                <a:cs typeface="Arial" panose="020B0604020202020204" pitchFamily="34" charset="0"/>
              </a:rPr>
              <a:t>Stable Diffusion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latin typeface="+mn-lt"/>
                <a:cs typeface="Arial" panose="020B0604020202020204" pitchFamily="34" charset="0"/>
              </a:rPr>
              <a:t>Imagen</a:t>
            </a:r>
          </a:p>
        </p:txBody>
      </p:sp>
      <p:sp>
        <p:nvSpPr>
          <p:cNvPr id="44" name="Inhaltsplatzhalter 29">
            <a:extLst>
              <a:ext uri="{FF2B5EF4-FFF2-40B4-BE49-F238E27FC236}">
                <a16:creationId xmlns:a16="http://schemas.microsoft.com/office/drawing/2014/main" id="{E90F82F5-E158-418C-A53F-5A58FEC1E50F}"/>
              </a:ext>
            </a:extLst>
          </p:cNvPr>
          <p:cNvSpPr txBox="1">
            <a:spLocks/>
          </p:cNvSpPr>
          <p:nvPr/>
        </p:nvSpPr>
        <p:spPr>
          <a:xfrm>
            <a:off x="623392" y="1700213"/>
            <a:ext cx="5328592" cy="19431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effectLst/>
        </p:spPr>
        <p:txBody>
          <a:bodyPr vert="horz" lIns="108000" tIns="46800" rIns="90000" bIns="46800" rtlCol="0" anchor="t">
            <a:no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 err="1">
                <a:latin typeface="+mn-lt"/>
                <a:cs typeface="Arial" panose="020B0604020202020204" pitchFamily="34" charset="0"/>
              </a:rPr>
              <a:t>ChatGPT</a:t>
            </a:r>
            <a:endParaRPr lang="en-US" sz="1400" dirty="0">
              <a:latin typeface="+mn-lt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latin typeface="+mn-lt"/>
                <a:cs typeface="Arial" panose="020B0604020202020204" pitchFamily="34" charset="0"/>
              </a:rPr>
              <a:t>Bard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latin typeface="+mn-lt"/>
                <a:cs typeface="Arial" panose="020B0604020202020204" pitchFamily="34" charset="0"/>
              </a:rPr>
              <a:t>LLaMa (Meta)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latin typeface="+mn-lt"/>
                <a:cs typeface="Arial" panose="020B0604020202020204" pitchFamily="34" charset="0"/>
              </a:rPr>
              <a:t>PaLM2</a:t>
            </a:r>
            <a:endParaRPr lang="en-US" sz="14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7E72222-0DB7-485E-A10D-6FED04B65147}"/>
              </a:ext>
            </a:extLst>
          </p:cNvPr>
          <p:cNvSpPr/>
          <p:nvPr/>
        </p:nvSpPr>
        <p:spPr bwMode="auto">
          <a:xfrm>
            <a:off x="551384" y="1124744"/>
            <a:ext cx="5472608" cy="5256584"/>
          </a:xfrm>
          <a:prstGeom prst="rect">
            <a:avLst/>
          </a:prstGeom>
          <a:noFill/>
          <a:ln w="57150">
            <a:solidFill>
              <a:srgbClr val="C00000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291E10A-A394-4C8D-9157-E21CB52C7D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3196220" y="2691273"/>
            <a:ext cx="1600000" cy="900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1AE852D-0FBE-4050-8A05-6F64AD073F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2277387" y="1757477"/>
            <a:ext cx="1350000" cy="900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98BC247-10AC-48FE-B064-ED3AF264FD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2165256" y="4425356"/>
            <a:ext cx="1714286" cy="900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B105AEE-01F6-43CB-A736-0D572C84F12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0"/>
              </a:ext>
            </a:extLst>
          </a:blip>
          <a:stretch>
            <a:fillRect/>
          </a:stretch>
        </p:blipFill>
        <p:spPr>
          <a:xfrm>
            <a:off x="4043986" y="4942342"/>
            <a:ext cx="1800000" cy="900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E529743-08C8-40A9-AE3E-BA4F6531D2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2"/>
              </a:ext>
            </a:extLst>
          </a:blip>
          <a:stretch>
            <a:fillRect/>
          </a:stretch>
        </p:blipFill>
        <p:spPr>
          <a:xfrm>
            <a:off x="8464580" y="4747387"/>
            <a:ext cx="1600000" cy="900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B5828D2-EC2F-4117-9FC2-37195FCAA40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4"/>
              </a:ext>
            </a:extLst>
          </a:blip>
          <a:stretch>
            <a:fillRect/>
          </a:stretch>
        </p:blipFill>
        <p:spPr>
          <a:xfrm>
            <a:off x="9987518" y="2577653"/>
            <a:ext cx="1600000" cy="900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7C120E5-BF0D-40ED-81B7-FEBF51D43DF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6"/>
              </a:ext>
            </a:extLst>
          </a:blip>
          <a:stretch>
            <a:fillRect/>
          </a:stretch>
        </p:blipFill>
        <p:spPr>
          <a:xfrm>
            <a:off x="8245008" y="1915217"/>
            <a:ext cx="1600000" cy="900000"/>
          </a:xfrm>
          <a:prstGeom prst="rect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366D2BC-8839-D31D-DEA7-A723B0AE318A}"/>
              </a:ext>
            </a:extLst>
          </p:cNvPr>
          <p:cNvSpPr/>
          <p:nvPr/>
        </p:nvSpPr>
        <p:spPr bwMode="auto">
          <a:xfrm>
            <a:off x="6308704" y="1113397"/>
            <a:ext cx="5472608" cy="5256584"/>
          </a:xfrm>
          <a:prstGeom prst="rect">
            <a:avLst/>
          </a:prstGeom>
          <a:noFill/>
          <a:ln w="57150">
            <a:solidFill>
              <a:srgbClr val="C00000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8" name="Picture 4" descr="Google Gemini — everything you need to ...">
            <a:extLst>
              <a:ext uri="{FF2B5EF4-FFF2-40B4-BE49-F238E27FC236}">
                <a16:creationId xmlns:a16="http://schemas.microsoft.com/office/drawing/2014/main" id="{69FAD100-022D-43E0-935E-B397C94231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8405" y="1802377"/>
            <a:ext cx="1768451" cy="824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A803196-4C0E-4EFF-B7FF-B41CFA6B855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161603" y="5373915"/>
            <a:ext cx="1721592" cy="905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720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7" grpId="0" animBg="1"/>
      <p:bldP spid="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4A6943-699A-4195-B5AE-86154CA73A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Large Language Models (LLM’s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32E445-F2E2-44E3-89CE-3F35AB42C168}"/>
              </a:ext>
            </a:extLst>
          </p:cNvPr>
          <p:cNvSpPr/>
          <p:nvPr/>
        </p:nvSpPr>
        <p:spPr bwMode="auto">
          <a:xfrm>
            <a:off x="2038255" y="3192041"/>
            <a:ext cx="1800200" cy="1800200"/>
          </a:xfrm>
          <a:prstGeom prst="rect">
            <a:avLst/>
          </a:prstGeom>
          <a:ln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dirty="0">
                <a:solidFill>
                  <a:schemeClr val="bg1"/>
                </a:solidFill>
              </a:rPr>
              <a:t>Where is sun located in solar system?</a:t>
            </a:r>
            <a:endParaRPr lang="en-IN" sz="1600" b="1" baseline="0" dirty="0">
              <a:solidFill>
                <a:schemeClr val="bg1"/>
              </a:solidFill>
            </a:endParaRP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AD029BAC-50AD-4C79-BD5F-7EACD1878755}"/>
              </a:ext>
            </a:extLst>
          </p:cNvPr>
          <p:cNvSpPr/>
          <p:nvPr/>
        </p:nvSpPr>
        <p:spPr bwMode="auto">
          <a:xfrm>
            <a:off x="4306507" y="3768105"/>
            <a:ext cx="504056" cy="504136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447C496-3D3E-4B04-9AD5-4A135FA65BD3}"/>
              </a:ext>
            </a:extLst>
          </p:cNvPr>
          <p:cNvSpPr/>
          <p:nvPr/>
        </p:nvSpPr>
        <p:spPr bwMode="auto">
          <a:xfrm>
            <a:off x="5188605" y="3400635"/>
            <a:ext cx="1152128" cy="1152128"/>
          </a:xfrm>
          <a:prstGeom prst="ellipse">
            <a:avLst/>
          </a:prstGeom>
          <a:ln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baseline="0" dirty="0">
                <a:solidFill>
                  <a:schemeClr val="bg1"/>
                </a:solidFill>
                <a:ea typeface="+mn-ea"/>
                <a:cs typeface="+mn-cs"/>
              </a:rPr>
              <a:t>LL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3FACFA-AFDB-4F89-A6CA-377EB4D825B4}"/>
              </a:ext>
            </a:extLst>
          </p:cNvPr>
          <p:cNvSpPr/>
          <p:nvPr/>
        </p:nvSpPr>
        <p:spPr bwMode="auto">
          <a:xfrm>
            <a:off x="7870902" y="3192041"/>
            <a:ext cx="1905417" cy="2878730"/>
          </a:xfrm>
          <a:prstGeom prst="rect">
            <a:avLst/>
          </a:prstGeom>
          <a:ln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dirty="0">
                <a:solidFill>
                  <a:schemeClr val="bg1"/>
                </a:solidFill>
              </a:rPr>
              <a:t>The Sun is located at the center of the Solar System. It is a nearly perfect sphere of hot plasma, with internal convective motion that generates a magnetic field via a dynamo process. </a:t>
            </a:r>
            <a:endParaRPr lang="en-IN" sz="1600" baseline="0" dirty="0">
              <a:solidFill>
                <a:schemeClr val="bg1"/>
              </a:solidFill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6BC9DBFA-DE25-48C7-9E58-B90E861C5A6E}"/>
              </a:ext>
            </a:extLst>
          </p:cNvPr>
          <p:cNvSpPr/>
          <p:nvPr/>
        </p:nvSpPr>
        <p:spPr bwMode="auto">
          <a:xfrm>
            <a:off x="6853790" y="3769615"/>
            <a:ext cx="504056" cy="504136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EA5D68-554A-4325-8E62-08DD91E6D808}"/>
              </a:ext>
            </a:extLst>
          </p:cNvPr>
          <p:cNvSpPr/>
          <p:nvPr/>
        </p:nvSpPr>
        <p:spPr bwMode="auto">
          <a:xfrm>
            <a:off x="1247982" y="2759993"/>
            <a:ext cx="1080120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baseline="0" dirty="0">
                <a:latin typeface="+mn-lt"/>
                <a:ea typeface="+mn-ea"/>
                <a:cs typeface="+mn-cs"/>
              </a:rPr>
              <a:t>Promp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54B396-D3A8-4E59-B0B7-8B97423736E5}"/>
              </a:ext>
            </a:extLst>
          </p:cNvPr>
          <p:cNvSpPr/>
          <p:nvPr/>
        </p:nvSpPr>
        <p:spPr bwMode="auto">
          <a:xfrm>
            <a:off x="4486528" y="2759993"/>
            <a:ext cx="1080120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dirty="0">
                <a:latin typeface="+mn-lt"/>
              </a:rPr>
              <a:t>Model</a:t>
            </a:r>
            <a:endParaRPr lang="en-IN" sz="1600" b="1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67099D-BD33-494E-A018-68AFAEE40F4F}"/>
              </a:ext>
            </a:extLst>
          </p:cNvPr>
          <p:cNvSpPr/>
          <p:nvPr/>
        </p:nvSpPr>
        <p:spPr bwMode="auto">
          <a:xfrm>
            <a:off x="7096817" y="2687985"/>
            <a:ext cx="1422157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="1" dirty="0">
                <a:latin typeface="+mn-lt"/>
              </a:rPr>
              <a:t>Completions</a:t>
            </a:r>
            <a:endParaRPr lang="en-IN" sz="1600" b="1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3895E81-78EC-4970-88C5-16E40106BED2}"/>
              </a:ext>
            </a:extLst>
          </p:cNvPr>
          <p:cNvSpPr txBox="1"/>
          <p:nvPr/>
        </p:nvSpPr>
        <p:spPr bwMode="auto">
          <a:xfrm>
            <a:off x="335361" y="1252325"/>
            <a:ext cx="11377263" cy="1299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indent="-252000"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800" b="1" dirty="0">
                <a:latin typeface="+mn-lt"/>
              </a:rPr>
              <a:t>Large language models </a:t>
            </a:r>
            <a:r>
              <a:rPr lang="en-US" sz="1800" dirty="0">
                <a:latin typeface="+mn-lt"/>
              </a:rPr>
              <a:t>are AI models that can generate human-like text based on vast amounts of training data.</a:t>
            </a:r>
          </a:p>
          <a:p>
            <a:pPr marL="252000" indent="-252000"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800" dirty="0">
                <a:latin typeface="+mn-lt"/>
              </a:rPr>
              <a:t> They are capable of understanding and producing natural language</a:t>
            </a:r>
            <a:endParaRPr lang="en-IN" sz="1800" dirty="0">
              <a:latin typeface="+mn-lt"/>
            </a:endParaRP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endParaRPr lang="en-IN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F83A3B9-5157-4BA0-8B77-00EBDE78B647}"/>
              </a:ext>
            </a:extLst>
          </p:cNvPr>
          <p:cNvSpPr txBox="1"/>
          <p:nvPr/>
        </p:nvSpPr>
        <p:spPr bwMode="auto">
          <a:xfrm>
            <a:off x="2038255" y="5113953"/>
            <a:ext cx="1656183" cy="459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i="1" kern="0" baseline="0" dirty="0">
                <a:latin typeface="+mn-lt"/>
                <a:ea typeface="+mn-ea"/>
                <a:cs typeface="+mn-cs"/>
              </a:rPr>
              <a:t>*Context Window </a:t>
            </a: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200" i="1" kern="0" baseline="0" dirty="0">
                <a:latin typeface="+mn-lt"/>
                <a:ea typeface="+mn-ea"/>
                <a:cs typeface="+mn-cs"/>
              </a:rPr>
              <a:t>~1k wor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394ED2-0FAA-4C57-AE42-AEF7F7BFB339}"/>
              </a:ext>
            </a:extLst>
          </p:cNvPr>
          <p:cNvSpPr txBox="1"/>
          <p:nvPr/>
        </p:nvSpPr>
        <p:spPr bwMode="auto">
          <a:xfrm>
            <a:off x="7870902" y="6110270"/>
            <a:ext cx="2088232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i="1" kern="0" baseline="0" dirty="0">
                <a:latin typeface="+mn-lt"/>
                <a:ea typeface="+mn-ea"/>
                <a:cs typeface="+mn-cs"/>
              </a:rPr>
              <a:t>*Top n tokens predict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54EAE92-3C92-47BC-8449-269BC1C7E22F}"/>
              </a:ext>
            </a:extLst>
          </p:cNvPr>
          <p:cNvSpPr txBox="1"/>
          <p:nvPr/>
        </p:nvSpPr>
        <p:spPr bwMode="auto">
          <a:xfrm>
            <a:off x="5224607" y="4689349"/>
            <a:ext cx="1656183" cy="751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i="1" kern="0" baseline="0" dirty="0">
                <a:latin typeface="+mn-lt"/>
                <a:ea typeface="+mn-ea"/>
                <a:cs typeface="+mn-cs"/>
              </a:rPr>
              <a:t>* Model size corresponds to no. of parameters</a:t>
            </a:r>
            <a:endParaRPr lang="en-IN" sz="1200" i="1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9123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E2A23BB-D1CF-C7D0-02B9-288F141E9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>
                <a:latin typeface="+mn-lt"/>
                <a:cs typeface="Calibri" panose="020F0502020204030204" pitchFamily="34" charset="0"/>
              </a:rPr>
              <a:t>Evolution of Large Language Models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8A64BCB5-EF4A-1F85-C41D-B785AE192F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5599346"/>
              </p:ext>
            </p:extLst>
          </p:nvPr>
        </p:nvGraphicFramePr>
        <p:xfrm>
          <a:off x="335360" y="1196752"/>
          <a:ext cx="11856640" cy="49415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453BC47F-4B66-B8A1-554E-B17162CE0D1B}"/>
              </a:ext>
            </a:extLst>
          </p:cNvPr>
          <p:cNvSpPr/>
          <p:nvPr/>
        </p:nvSpPr>
        <p:spPr>
          <a:xfrm>
            <a:off x="3674985" y="3557670"/>
            <a:ext cx="625266" cy="611798"/>
          </a:xfrm>
          <a:prstGeom prst="ellipse">
            <a:avLst/>
          </a:prstGeom>
          <a:solidFill>
            <a:srgbClr val="6CB4AD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IN" dirty="0">
              <a:cs typeface="Calibri" panose="020F050202020403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969EEF3-FCDC-BEB3-90D2-573CECF9AB9D}"/>
              </a:ext>
            </a:extLst>
          </p:cNvPr>
          <p:cNvSpPr/>
          <p:nvPr/>
        </p:nvSpPr>
        <p:spPr>
          <a:xfrm>
            <a:off x="5007545" y="2994588"/>
            <a:ext cx="781926" cy="734437"/>
          </a:xfrm>
          <a:prstGeom prst="ellipse">
            <a:avLst/>
          </a:prstGeom>
          <a:solidFill>
            <a:srgbClr val="6CB4AD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IN" dirty="0"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864239B-3A28-4498-FDE8-D747A1BE9E01}"/>
              </a:ext>
            </a:extLst>
          </p:cNvPr>
          <p:cNvSpPr txBox="1"/>
          <p:nvPr/>
        </p:nvSpPr>
        <p:spPr bwMode="auto">
          <a:xfrm>
            <a:off x="983432" y="5805264"/>
            <a:ext cx="1512168" cy="3330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baseline="0" dirty="0">
                <a:latin typeface="+mn-lt"/>
                <a:cs typeface="Calibri" panose="020F0502020204030204" pitchFamily="34" charset="0"/>
              </a:rPr>
              <a:t>1967</a:t>
            </a: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dirty="0">
                <a:latin typeface="+mn-lt"/>
                <a:cs typeface="Calibri" panose="020F0502020204030204" pitchFamily="34" charset="0"/>
              </a:rPr>
              <a:t>ELIZA</a:t>
            </a:r>
            <a:endParaRPr lang="en-IN" kern="0" baseline="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015A98-EFD3-16DC-377B-1EEC13873C02}"/>
              </a:ext>
            </a:extLst>
          </p:cNvPr>
          <p:cNvSpPr txBox="1"/>
          <p:nvPr/>
        </p:nvSpPr>
        <p:spPr bwMode="auto">
          <a:xfrm>
            <a:off x="1147268" y="4457946"/>
            <a:ext cx="1512168" cy="3330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baseline="0" dirty="0">
                <a:latin typeface="+mn-lt"/>
                <a:cs typeface="Calibri" panose="020F0502020204030204" pitchFamily="34" charset="0"/>
              </a:rPr>
              <a:t>1990</a:t>
            </a: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dirty="0">
                <a:latin typeface="+mn-lt"/>
                <a:cs typeface="Calibri" panose="020F0502020204030204" pitchFamily="34" charset="0"/>
              </a:rPr>
              <a:t>N –grams Models</a:t>
            </a:r>
            <a:endParaRPr lang="en-IN" kern="0" baseline="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0616C7E-521B-1AA7-25CF-ABFB321844A5}"/>
              </a:ext>
            </a:extLst>
          </p:cNvPr>
          <p:cNvSpPr/>
          <p:nvPr/>
        </p:nvSpPr>
        <p:spPr>
          <a:xfrm>
            <a:off x="6228265" y="2582695"/>
            <a:ext cx="972108" cy="876926"/>
          </a:xfrm>
          <a:prstGeom prst="ellipse">
            <a:avLst/>
          </a:prstGeom>
          <a:solidFill>
            <a:srgbClr val="6CB4AD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IN" sz="1600">
              <a:cs typeface="Calibri" panose="020F05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EFDBD89-36B8-7B5C-2263-37159A217F2E}"/>
              </a:ext>
            </a:extLst>
          </p:cNvPr>
          <p:cNvSpPr txBox="1"/>
          <p:nvPr/>
        </p:nvSpPr>
        <p:spPr bwMode="auto">
          <a:xfrm>
            <a:off x="3987618" y="4317295"/>
            <a:ext cx="1512168" cy="3330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dirty="0">
                <a:latin typeface="+mn-lt"/>
                <a:cs typeface="Calibri" panose="020F0502020204030204" pitchFamily="34" charset="0"/>
              </a:rPr>
              <a:t>2017</a:t>
            </a:r>
            <a:endParaRPr lang="en-IN" kern="0" baseline="0" dirty="0">
              <a:latin typeface="+mn-lt"/>
              <a:cs typeface="Calibri" panose="020F0502020204030204" pitchFamily="34" charset="0"/>
            </a:endParaRP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dirty="0">
                <a:latin typeface="+mn-lt"/>
                <a:cs typeface="Calibri" panose="020F0502020204030204" pitchFamily="34" charset="0"/>
              </a:rPr>
              <a:t>Transformers</a:t>
            </a:r>
            <a:endParaRPr lang="en-IN" kern="0" baseline="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5E96A95-8041-4519-F44E-74439CC4D2CC}"/>
              </a:ext>
            </a:extLst>
          </p:cNvPr>
          <p:cNvSpPr txBox="1"/>
          <p:nvPr/>
        </p:nvSpPr>
        <p:spPr bwMode="auto">
          <a:xfrm>
            <a:off x="9727264" y="3692003"/>
            <a:ext cx="1512168" cy="3330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dirty="0">
                <a:latin typeface="+mn-lt"/>
                <a:cs typeface="Calibri" panose="020F0502020204030204" pitchFamily="34" charset="0"/>
              </a:rPr>
              <a:t>2024</a:t>
            </a: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dirty="0">
                <a:latin typeface="+mn-lt"/>
                <a:cs typeface="Calibri" panose="020F0502020204030204" pitchFamily="34" charset="0"/>
              </a:rPr>
              <a:t>GPT-</a:t>
            </a:r>
            <a:r>
              <a:rPr lang="en-IN" kern="0" dirty="0" err="1">
                <a:latin typeface="+mn-lt"/>
                <a:cs typeface="Calibri" panose="020F0502020204030204" pitchFamily="34" charset="0"/>
              </a:rPr>
              <a:t>MoE</a:t>
            </a:r>
            <a:endParaRPr lang="en-IN" kern="0" dirty="0">
              <a:latin typeface="+mn-lt"/>
              <a:cs typeface="Calibri" panose="020F0502020204030204" pitchFamily="34" charset="0"/>
            </a:endParaRP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i="0" dirty="0">
                <a:solidFill>
                  <a:srgbClr val="001D35"/>
                </a:solidFill>
                <a:effectLst/>
                <a:latin typeface="Google Sans"/>
              </a:rPr>
              <a:t>GPT-4o</a:t>
            </a:r>
            <a:endParaRPr lang="en-IN" i="0" kern="0" dirty="0">
              <a:solidFill>
                <a:srgbClr val="001D35"/>
              </a:solidFill>
              <a:effectLst/>
              <a:latin typeface="+mn-lt"/>
              <a:cs typeface="Calibri" panose="020F0502020204030204" pitchFamily="34" charset="0"/>
            </a:endParaRP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i="0" dirty="0" err="1">
                <a:solidFill>
                  <a:srgbClr val="001D35"/>
                </a:solidFill>
                <a:effectLst/>
                <a:latin typeface="Google Sans"/>
              </a:rPr>
              <a:t>DataGemma</a:t>
            </a:r>
            <a:endParaRPr lang="en-IN" kern="0" dirty="0">
              <a:latin typeface="+mn-lt"/>
              <a:cs typeface="Calibri" panose="020F0502020204030204" pitchFamily="34" charset="0"/>
            </a:endParaRP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endParaRPr lang="en-IN" kern="0" dirty="0">
              <a:latin typeface="+mn-lt"/>
              <a:cs typeface="Calibri" panose="020F0502020204030204" pitchFamily="34" charset="0"/>
            </a:endParaRP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endParaRPr lang="en-IN" kern="0" dirty="0">
              <a:latin typeface="+mn-lt"/>
              <a:cs typeface="Calibri" panose="020F0502020204030204" pitchFamily="34" charset="0"/>
            </a:endParaRP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endParaRPr lang="en-IN" kern="0" baseline="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C0238FE-903B-8FF3-094B-2305B557D922}"/>
              </a:ext>
            </a:extLst>
          </p:cNvPr>
          <p:cNvSpPr/>
          <p:nvPr/>
        </p:nvSpPr>
        <p:spPr>
          <a:xfrm>
            <a:off x="7578938" y="2230791"/>
            <a:ext cx="1061783" cy="1008112"/>
          </a:xfrm>
          <a:prstGeom prst="ellipse">
            <a:avLst/>
          </a:prstGeom>
          <a:solidFill>
            <a:srgbClr val="6CB4AD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IN" sz="1600"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E323DC-A5F4-0812-56D6-E389C1CE7070}"/>
              </a:ext>
            </a:extLst>
          </p:cNvPr>
          <p:cNvSpPr txBox="1"/>
          <p:nvPr/>
        </p:nvSpPr>
        <p:spPr bwMode="auto">
          <a:xfrm>
            <a:off x="8217768" y="3566394"/>
            <a:ext cx="2304256" cy="467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dirty="0">
                <a:latin typeface="+mn-lt"/>
                <a:cs typeface="Calibri" panose="020F0502020204030204" pitchFamily="34" charset="0"/>
              </a:rPr>
              <a:t>2023</a:t>
            </a:r>
            <a:endParaRPr lang="en-IN" kern="0" baseline="0" dirty="0">
              <a:latin typeface="+mn-lt"/>
              <a:cs typeface="Calibri" panose="020F0502020204030204" pitchFamily="34" charset="0"/>
            </a:endParaRP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baseline="0" dirty="0">
                <a:latin typeface="+mn-lt"/>
                <a:cs typeface="Calibri" panose="020F0502020204030204" pitchFamily="34" charset="0"/>
              </a:rPr>
              <a:t>LLAMA,</a:t>
            </a: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baseline="0" dirty="0">
                <a:latin typeface="+mn-lt"/>
                <a:cs typeface="Calibri" panose="020F0502020204030204" pitchFamily="34" charset="0"/>
              </a:rPr>
              <a:t>Falcon,</a:t>
            </a: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baseline="0" dirty="0">
                <a:latin typeface="+mn-lt"/>
                <a:cs typeface="Calibri" panose="020F0502020204030204" pitchFamily="34" charset="0"/>
              </a:rPr>
              <a:t>GPT-4,</a:t>
            </a: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baseline="0" dirty="0">
                <a:latin typeface="+mn-lt"/>
                <a:cs typeface="Calibri" panose="020F0502020204030204" pitchFamily="34" charset="0"/>
              </a:rPr>
              <a:t>BARD</a:t>
            </a: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D7FF983-6D89-4332-B395-640C272FDF63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76553" y="2510461"/>
            <a:ext cx="725404" cy="254959"/>
          </a:xfrm>
          <a:prstGeom prst="bentConnector3">
            <a:avLst>
              <a:gd name="adj1" fmla="val 99560"/>
            </a:avLst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11D60197-EEA3-48E1-8A62-091AFA63B736}"/>
              </a:ext>
            </a:extLst>
          </p:cNvPr>
          <p:cNvCxnSpPr>
            <a:cxnSpLocks/>
            <a:stCxn id="15" idx="0"/>
          </p:cNvCxnSpPr>
          <p:nvPr/>
        </p:nvCxnSpPr>
        <p:spPr>
          <a:xfrm rot="16200000" flipV="1">
            <a:off x="5867946" y="1736322"/>
            <a:ext cx="1096058" cy="596688"/>
          </a:xfrm>
          <a:prstGeom prst="bentConnector3">
            <a:avLst>
              <a:gd name="adj1" fmla="val 99200"/>
            </a:avLst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8532F61D-4DFE-49A4-AC0D-60626889866C}"/>
              </a:ext>
            </a:extLst>
          </p:cNvPr>
          <p:cNvCxnSpPr>
            <a:cxnSpLocks/>
          </p:cNvCxnSpPr>
          <p:nvPr/>
        </p:nvCxnSpPr>
        <p:spPr>
          <a:xfrm rot="16200000" flipV="1">
            <a:off x="7240389" y="1375485"/>
            <a:ext cx="1155842" cy="656821"/>
          </a:xfrm>
          <a:prstGeom prst="bentConnector3">
            <a:avLst>
              <a:gd name="adj1" fmla="val 100036"/>
            </a:avLst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96F7690-2219-4ED0-BF50-DB6ED02E28F7}"/>
              </a:ext>
            </a:extLst>
          </p:cNvPr>
          <p:cNvSpPr txBox="1"/>
          <p:nvPr/>
        </p:nvSpPr>
        <p:spPr bwMode="auto">
          <a:xfrm>
            <a:off x="6883833" y="808175"/>
            <a:ext cx="1128504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600" i="1" kern="0" baseline="0" dirty="0">
                <a:latin typeface="+mn-lt"/>
                <a:ea typeface="+mn-ea"/>
                <a:cs typeface="+mn-cs"/>
              </a:rPr>
              <a:t>1.76 T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8C9256-92B7-4627-A489-238E86F253BA}"/>
              </a:ext>
            </a:extLst>
          </p:cNvPr>
          <p:cNvSpPr txBox="1"/>
          <p:nvPr/>
        </p:nvSpPr>
        <p:spPr bwMode="auto">
          <a:xfrm>
            <a:off x="5654686" y="1277547"/>
            <a:ext cx="1128504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600" i="1" kern="0" baseline="0" dirty="0">
                <a:latin typeface="+mn-lt"/>
              </a:rPr>
              <a:t>175 </a:t>
            </a:r>
            <a:r>
              <a:rPr lang="en-IN" sz="1600" i="1" kern="0" dirty="0">
                <a:latin typeface="+mn-lt"/>
              </a:rPr>
              <a:t>B</a:t>
            </a:r>
            <a:r>
              <a:rPr lang="en-IN" sz="1600" i="1" kern="0" baseline="0" dirty="0">
                <a:latin typeface="+mn-lt"/>
              </a:rPr>
              <a:t>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FE69D08-431F-4EC8-A4CE-5B54112849F1}"/>
              </a:ext>
            </a:extLst>
          </p:cNvPr>
          <p:cNvSpPr txBox="1"/>
          <p:nvPr/>
        </p:nvSpPr>
        <p:spPr bwMode="auto">
          <a:xfrm>
            <a:off x="4385048" y="2013538"/>
            <a:ext cx="1128504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600" i="1" kern="0" baseline="0" dirty="0">
                <a:latin typeface="+mn-lt"/>
                <a:ea typeface="+mn-ea"/>
                <a:cs typeface="+mn-cs"/>
              </a:rPr>
              <a:t>110 M </a:t>
            </a: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CFDD391E-FBE5-4E6D-A873-34534542FB46}"/>
              </a:ext>
            </a:extLst>
          </p:cNvPr>
          <p:cNvCxnSpPr>
            <a:cxnSpLocks/>
            <a:stCxn id="3" idx="0"/>
          </p:cNvCxnSpPr>
          <p:nvPr/>
        </p:nvCxnSpPr>
        <p:spPr>
          <a:xfrm rot="16200000" flipV="1">
            <a:off x="3335762" y="2905813"/>
            <a:ext cx="1049080" cy="254633"/>
          </a:xfrm>
          <a:prstGeom prst="bentConnector3">
            <a:avLst>
              <a:gd name="adj1" fmla="val 50000"/>
            </a:avLst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044ED45C-1CD1-4BE3-A7C8-1EE3C934953B}"/>
              </a:ext>
            </a:extLst>
          </p:cNvPr>
          <p:cNvSpPr txBox="1"/>
          <p:nvPr/>
        </p:nvSpPr>
        <p:spPr bwMode="auto">
          <a:xfrm>
            <a:off x="3326167" y="2271379"/>
            <a:ext cx="1128504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600" i="1" kern="0" dirty="0">
                <a:latin typeface="+mn-lt"/>
              </a:rPr>
              <a:t>65M</a:t>
            </a:r>
            <a:r>
              <a:rPr lang="en-IN" sz="1600" kern="0" baseline="0" dirty="0">
                <a:latin typeface="+mn-lt"/>
              </a:rPr>
              <a:t>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57D5624-36AF-453D-AF6B-478F15DE72F9}"/>
              </a:ext>
            </a:extLst>
          </p:cNvPr>
          <p:cNvSpPr txBox="1"/>
          <p:nvPr/>
        </p:nvSpPr>
        <p:spPr bwMode="auto">
          <a:xfrm>
            <a:off x="2053337" y="5859449"/>
            <a:ext cx="3293382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600" i="1" kern="0" baseline="0" dirty="0">
                <a:latin typeface="+mn-lt"/>
                <a:ea typeface="+mn-ea"/>
                <a:cs typeface="+mn-cs"/>
              </a:rPr>
              <a:t>Rule Based Language Mode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1D0AD99-D2B9-4F7E-A1AD-F20AE29FF052}"/>
              </a:ext>
            </a:extLst>
          </p:cNvPr>
          <p:cNvSpPr txBox="1"/>
          <p:nvPr/>
        </p:nvSpPr>
        <p:spPr bwMode="auto">
          <a:xfrm>
            <a:off x="256661" y="3121234"/>
            <a:ext cx="3293382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600" i="1" kern="0" baseline="0" dirty="0">
                <a:latin typeface="+mn-lt"/>
                <a:ea typeface="+mn-ea"/>
                <a:cs typeface="+mn-cs"/>
              </a:rPr>
              <a:t>Neural Network Based Model</a:t>
            </a: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EE84784F-3297-4AC0-8A4E-878EDA42F9C5}"/>
              </a:ext>
            </a:extLst>
          </p:cNvPr>
          <p:cNvCxnSpPr>
            <a:cxnSpLocks/>
          </p:cNvCxnSpPr>
          <p:nvPr/>
        </p:nvCxnSpPr>
        <p:spPr>
          <a:xfrm rot="16200000" flipV="1">
            <a:off x="2233949" y="3827884"/>
            <a:ext cx="817370" cy="1"/>
          </a:xfrm>
          <a:prstGeom prst="bentConnector3">
            <a:avLst>
              <a:gd name="adj1" fmla="val 50000"/>
            </a:avLst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C582ACAA-BE17-4D0E-BFFF-BAFC7D7C5213}"/>
              </a:ext>
            </a:extLst>
          </p:cNvPr>
          <p:cNvCxnSpPr>
            <a:cxnSpLocks/>
          </p:cNvCxnSpPr>
          <p:nvPr/>
        </p:nvCxnSpPr>
        <p:spPr>
          <a:xfrm>
            <a:off x="1555751" y="5519146"/>
            <a:ext cx="1879698" cy="299016"/>
          </a:xfrm>
          <a:prstGeom prst="bentConnector3">
            <a:avLst>
              <a:gd name="adj1" fmla="val 100077"/>
            </a:avLst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0F50FD1-82BB-4BD0-924D-CA5A021E45E7}"/>
              </a:ext>
            </a:extLst>
          </p:cNvPr>
          <p:cNvSpPr txBox="1"/>
          <p:nvPr/>
        </p:nvSpPr>
        <p:spPr bwMode="auto">
          <a:xfrm>
            <a:off x="10245864" y="5342008"/>
            <a:ext cx="1507318" cy="859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85750" marR="0" indent="-28575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IN" sz="1600" kern="0" baseline="0" dirty="0">
                <a:latin typeface="+mn-lt"/>
              </a:rPr>
              <a:t>T - Trillion</a:t>
            </a:r>
          </a:p>
          <a:p>
            <a:pPr marL="285750" marR="0" indent="-28575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IN" sz="1600" kern="0" dirty="0">
                <a:latin typeface="+mn-lt"/>
              </a:rPr>
              <a:t>B - Billion</a:t>
            </a:r>
          </a:p>
          <a:p>
            <a:pPr marL="285750" marR="0" indent="-28575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IN" sz="1600" kern="0" baseline="0" dirty="0">
                <a:latin typeface="+mn-lt"/>
              </a:rPr>
              <a:t>M - Millio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84623D7-B782-921E-228D-7C5A9087D960}"/>
              </a:ext>
            </a:extLst>
          </p:cNvPr>
          <p:cNvSpPr/>
          <p:nvPr/>
        </p:nvSpPr>
        <p:spPr>
          <a:xfrm>
            <a:off x="8968203" y="2045076"/>
            <a:ext cx="1061783" cy="1008112"/>
          </a:xfrm>
          <a:prstGeom prst="ellipse">
            <a:avLst/>
          </a:prstGeom>
          <a:solidFill>
            <a:srgbClr val="6CB4AD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IN" sz="1600">
              <a:cs typeface="Calibri" panose="020F0502020204030204" pitchFamily="34" charset="0"/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EB3AE28D-1DDC-92D0-1D07-4AE37CBE57C4}"/>
              </a:ext>
            </a:extLst>
          </p:cNvPr>
          <p:cNvCxnSpPr>
            <a:cxnSpLocks/>
            <a:stCxn id="12" idx="0"/>
          </p:cNvCxnSpPr>
          <p:nvPr/>
        </p:nvCxnSpPr>
        <p:spPr>
          <a:xfrm rot="16200000" flipV="1">
            <a:off x="8703771" y="1249752"/>
            <a:ext cx="1046984" cy="543664"/>
          </a:xfrm>
          <a:prstGeom prst="bentConnector3">
            <a:avLst>
              <a:gd name="adj1" fmla="val 100760"/>
            </a:avLst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68B3441E-0D89-B70E-F7D7-7EEF06DE6F6B}"/>
              </a:ext>
            </a:extLst>
          </p:cNvPr>
          <p:cNvSpPr txBox="1"/>
          <p:nvPr/>
        </p:nvSpPr>
        <p:spPr bwMode="auto">
          <a:xfrm>
            <a:off x="8612486" y="656101"/>
            <a:ext cx="1128504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600" i="1" kern="0" baseline="0" dirty="0">
                <a:latin typeface="+mn-lt"/>
                <a:ea typeface="+mn-ea"/>
                <a:cs typeface="+mn-cs"/>
              </a:rPr>
              <a:t>1.8 T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2FE7C83-B32F-EE0A-B008-5FBDC1FB4A3A}"/>
              </a:ext>
            </a:extLst>
          </p:cNvPr>
          <p:cNvSpPr txBox="1"/>
          <p:nvPr/>
        </p:nvSpPr>
        <p:spPr bwMode="auto">
          <a:xfrm>
            <a:off x="5405005" y="3928993"/>
            <a:ext cx="1512168" cy="3330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dirty="0">
                <a:latin typeface="+mn-lt"/>
                <a:cs typeface="Calibri" panose="020F0502020204030204" pitchFamily="34" charset="0"/>
              </a:rPr>
              <a:t>2018</a:t>
            </a: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IN" kern="0" baseline="0" dirty="0">
                <a:latin typeface="+mn-lt"/>
                <a:cs typeface="Calibri" panose="020F0502020204030204" pitchFamily="34" charset="0"/>
              </a:rPr>
              <a:t>Bert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237EB09-D5EC-45F0-99B0-F463E2A50737}"/>
              </a:ext>
            </a:extLst>
          </p:cNvPr>
          <p:cNvSpPr/>
          <p:nvPr/>
        </p:nvSpPr>
        <p:spPr>
          <a:xfrm>
            <a:off x="10483348" y="1814713"/>
            <a:ext cx="1061783" cy="1008112"/>
          </a:xfrm>
          <a:prstGeom prst="ellipse">
            <a:avLst/>
          </a:prstGeom>
          <a:solidFill>
            <a:srgbClr val="6CB4AD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IN" sz="1600">
              <a:cs typeface="Calibri" panose="020F050202020403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881676C-FC93-4447-8012-49BC933E9A71}"/>
              </a:ext>
            </a:extLst>
          </p:cNvPr>
          <p:cNvSpPr txBox="1"/>
          <p:nvPr/>
        </p:nvSpPr>
        <p:spPr bwMode="auto">
          <a:xfrm>
            <a:off x="5638800" y="2973754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endParaRPr lang="en-IN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64BE256-A98B-44EA-8F4E-9421804014AE}"/>
              </a:ext>
            </a:extLst>
          </p:cNvPr>
          <p:cNvSpPr txBox="1"/>
          <p:nvPr/>
        </p:nvSpPr>
        <p:spPr bwMode="auto">
          <a:xfrm>
            <a:off x="5638800" y="2973754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endParaRPr lang="en-IN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128CD66-8033-4E03-A7D1-81A388D800E9}"/>
              </a:ext>
            </a:extLst>
          </p:cNvPr>
          <p:cNvSpPr txBox="1"/>
          <p:nvPr/>
        </p:nvSpPr>
        <p:spPr bwMode="auto">
          <a:xfrm>
            <a:off x="10890935" y="2895770"/>
            <a:ext cx="1230827" cy="1188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200" kern="0" baseline="0" dirty="0">
                <a:latin typeface="+mn-lt"/>
                <a:ea typeface="+mn-ea"/>
                <a:cs typeface="+mn-cs"/>
              </a:rPr>
              <a:t>2025</a:t>
            </a: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200" kern="0" baseline="0" dirty="0">
                <a:latin typeface="+mn-lt"/>
                <a:ea typeface="+mn-ea"/>
                <a:cs typeface="+mn-cs"/>
              </a:rPr>
              <a:t>GPT 5</a:t>
            </a: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200" kern="0" dirty="0" err="1">
                <a:latin typeface="+mn-lt"/>
              </a:rPr>
              <a:t>Deepseek</a:t>
            </a:r>
            <a:endParaRPr lang="en-IN" sz="1200" kern="0" dirty="0">
              <a:latin typeface="+mn-lt"/>
            </a:endParaRP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200" kern="0" dirty="0">
                <a:latin typeface="+mn-lt"/>
              </a:rPr>
              <a:t>Claude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endParaRPr lang="en-IN" sz="1800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395A5D46-2FB2-4861-98CB-309295A287D8}"/>
              </a:ext>
            </a:extLst>
          </p:cNvPr>
          <p:cNvCxnSpPr>
            <a:cxnSpLocks/>
          </p:cNvCxnSpPr>
          <p:nvPr/>
        </p:nvCxnSpPr>
        <p:spPr>
          <a:xfrm rot="16200000" flipV="1">
            <a:off x="10367443" y="1199373"/>
            <a:ext cx="1046984" cy="543664"/>
          </a:xfrm>
          <a:prstGeom prst="bentConnector3">
            <a:avLst>
              <a:gd name="adj1" fmla="val 100760"/>
            </a:avLst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B40070F1-3E02-4E16-883B-794258A7A664}"/>
              </a:ext>
            </a:extLst>
          </p:cNvPr>
          <p:cNvSpPr txBox="1"/>
          <p:nvPr/>
        </p:nvSpPr>
        <p:spPr bwMode="auto">
          <a:xfrm>
            <a:off x="9948428" y="674361"/>
            <a:ext cx="1128504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600" i="1" kern="0" baseline="0" dirty="0">
                <a:latin typeface="+mn-lt"/>
                <a:ea typeface="+mn-ea"/>
                <a:cs typeface="+mn-cs"/>
              </a:rPr>
              <a:t>1 T+ </a:t>
            </a:r>
          </a:p>
        </p:txBody>
      </p:sp>
    </p:spTree>
    <p:extLst>
      <p:ext uri="{BB962C8B-B14F-4D97-AF65-F5344CB8AC3E}">
        <p14:creationId xmlns:p14="http://schemas.microsoft.com/office/powerpoint/2010/main" val="31258976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A9B4CA20-DD75-4557-B126-A6639602F3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4000" y="5445224"/>
            <a:ext cx="8280000" cy="972040"/>
          </a:xfrm>
        </p:spPr>
        <p:txBody>
          <a:bodyPr/>
          <a:lstStyle/>
          <a:p>
            <a:r>
              <a:rPr lang="en-US" dirty="0"/>
              <a:t>Jiwank Shukla (DES DTP DDA AIA)</a:t>
            </a:r>
          </a:p>
          <a:p>
            <a:r>
              <a:rPr lang="en-US" dirty="0"/>
              <a:t>Harshal Kumeriya (DES DTP DDA AIP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88774C-5368-4222-A467-A7F496891E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000" y="4163051"/>
            <a:ext cx="10584568" cy="1118901"/>
          </a:xfrm>
        </p:spPr>
        <p:txBody>
          <a:bodyPr>
            <a:normAutofit/>
          </a:bodyPr>
          <a:lstStyle/>
          <a:p>
            <a:r>
              <a:rPr lang="en-IN" dirty="0"/>
              <a:t>Agentic Bug Hunter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1B226053-B6AA-4C27-A23B-9FC5A4CECD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73" b="26973"/>
          <a:stretch>
            <a:fillRect/>
          </a:stretch>
        </p:blipFill>
        <p:spPr/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F7BD4A8-0583-4CFC-811D-9C19E6196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6303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08378-6176-41E5-AC56-1D8B85633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en-IN" dirty="0">
                <a:latin typeface="+mn-lt"/>
              </a:rPr>
              <a:t>Use Cases of Generative AI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08BA8976-6189-4E46-98F1-86E51533C814}"/>
              </a:ext>
            </a:extLst>
          </p:cNvPr>
          <p:cNvGraphicFramePr/>
          <p:nvPr/>
        </p:nvGraphicFramePr>
        <p:xfrm>
          <a:off x="371254" y="1211542"/>
          <a:ext cx="11341369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022755E3-8DC0-4CC4-9249-FAA0331540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tretch>
            <a:fillRect/>
          </a:stretch>
        </p:blipFill>
        <p:spPr>
          <a:xfrm>
            <a:off x="9263844" y="5205872"/>
            <a:ext cx="1566946" cy="1134898"/>
          </a:xfrm>
          <a:prstGeom prst="rect">
            <a:avLst/>
          </a:prstGeom>
        </p:spPr>
      </p:pic>
      <p:pic>
        <p:nvPicPr>
          <p:cNvPr id="6" name="Video">
            <a:extLst>
              <a:ext uri="{FF2B5EF4-FFF2-40B4-BE49-F238E27FC236}">
                <a16:creationId xmlns:a16="http://schemas.microsoft.com/office/drawing/2014/main" id="{6446022A-7154-E0CF-5819-1E9E7194A51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01782" y="5339298"/>
            <a:ext cx="762236" cy="76223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789BB9A-6948-9846-EB7B-B7319DB13C71}"/>
              </a:ext>
            </a:extLst>
          </p:cNvPr>
          <p:cNvSpPr/>
          <p:nvPr/>
        </p:nvSpPr>
        <p:spPr bwMode="auto">
          <a:xfrm>
            <a:off x="6558944" y="4326655"/>
            <a:ext cx="861002" cy="89985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084F306-9816-791F-10D3-B8419C8EE0B8}"/>
              </a:ext>
            </a:extLst>
          </p:cNvPr>
          <p:cNvSpPr/>
          <p:nvPr/>
        </p:nvSpPr>
        <p:spPr bwMode="auto">
          <a:xfrm>
            <a:off x="6558944" y="4326655"/>
            <a:ext cx="861002" cy="918695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3134634-E004-0AA0-1337-6EB478BFBF99}"/>
              </a:ext>
            </a:extLst>
          </p:cNvPr>
          <p:cNvSpPr/>
          <p:nvPr/>
        </p:nvSpPr>
        <p:spPr bwMode="auto">
          <a:xfrm>
            <a:off x="6634554" y="4394900"/>
            <a:ext cx="721990" cy="791643"/>
          </a:xfrm>
          <a:prstGeom prst="ellipse">
            <a:avLst/>
          </a:prstGeom>
          <a:solidFill>
            <a:srgbClr val="B9D257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EF471EA-25FB-8B47-1008-9C42ED1E7991}"/>
              </a:ext>
            </a:extLst>
          </p:cNvPr>
          <p:cNvSpPr/>
          <p:nvPr/>
        </p:nvSpPr>
        <p:spPr bwMode="auto">
          <a:xfrm>
            <a:off x="6669967" y="4452782"/>
            <a:ext cx="651399" cy="666439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Audio">
            <a:extLst>
              <a:ext uri="{FF2B5EF4-FFF2-40B4-BE49-F238E27FC236}">
                <a16:creationId xmlns:a16="http://schemas.microsoft.com/office/drawing/2014/main" id="{E9938815-C279-2CAF-C9A2-94E626B33C1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669966" y="4504952"/>
            <a:ext cx="347147" cy="347147"/>
          </a:xfrm>
          <a:prstGeom prst="rect">
            <a:avLst/>
          </a:prstGeom>
        </p:spPr>
      </p:pic>
      <p:pic>
        <p:nvPicPr>
          <p:cNvPr id="7" name="Music">
            <a:extLst>
              <a:ext uri="{FF2B5EF4-FFF2-40B4-BE49-F238E27FC236}">
                <a16:creationId xmlns:a16="http://schemas.microsoft.com/office/drawing/2014/main" id="{266B6828-BD25-6F0F-517B-2A12CEDD158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916933" y="4769308"/>
            <a:ext cx="347147" cy="347147"/>
          </a:xfrm>
          <a:prstGeom prst="rect">
            <a:avLst/>
          </a:prstGeom>
        </p:spPr>
      </p:pic>
      <p:pic>
        <p:nvPicPr>
          <p:cNvPr id="11" name="Picture 10" descr="A person with a headset and a microphone&#10;&#10;Description automatically generated">
            <a:extLst>
              <a:ext uri="{FF2B5EF4-FFF2-40B4-BE49-F238E27FC236}">
                <a16:creationId xmlns:a16="http://schemas.microsoft.com/office/drawing/2014/main" id="{216F713B-0A68-8809-1834-8A97E8DB2BE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67" y="4641955"/>
            <a:ext cx="2360085" cy="1206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3414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83FBDF-83F0-4E85-9FCB-BFE692B1D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GenAI Use Cases @ IF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8602B2-E18A-48F1-9FC9-1A27AFF9788A}"/>
              </a:ext>
            </a:extLst>
          </p:cNvPr>
          <p:cNvSpPr txBox="1"/>
          <p:nvPr/>
        </p:nvSpPr>
        <p:spPr bwMode="auto">
          <a:xfrm>
            <a:off x="695400" y="1362086"/>
            <a:ext cx="10369152" cy="634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800" b="1" kern="0" dirty="0">
                <a:latin typeface="+mn-lt"/>
                <a:cs typeface="Calibri" panose="020F0502020204030204" pitchFamily="34" charset="0"/>
              </a:rPr>
              <a:t>At Infineon we have In-House Code Assistants, In-House Question answering Systems</a:t>
            </a:r>
            <a:r>
              <a:rPr lang="en-IN" sz="1800" b="1" kern="0" baseline="0" dirty="0">
                <a:latin typeface="+mn-lt"/>
                <a:cs typeface="Calibri" panose="020F0502020204030204" pitchFamily="34" charset="0"/>
              </a:rPr>
              <a:t> etc. empowered by LLM’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AE1020-BD27-539A-19E2-B42BDB5B3F9A}"/>
              </a:ext>
            </a:extLst>
          </p:cNvPr>
          <p:cNvSpPr txBox="1"/>
          <p:nvPr/>
        </p:nvSpPr>
        <p:spPr bwMode="auto">
          <a:xfrm>
            <a:off x="10488488" y="6525346"/>
            <a:ext cx="1224136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IN" sz="1000" b="1" kern="0" dirty="0">
                <a:latin typeface="+mn-lt"/>
              </a:rPr>
              <a:t>Reference</a:t>
            </a:r>
            <a:r>
              <a:rPr lang="en-IN" sz="1000" b="1" kern="0" dirty="0">
                <a:solidFill>
                  <a:srgbClr val="9BBA43"/>
                </a:solidFill>
                <a:latin typeface="+mn-lt"/>
              </a:rPr>
              <a:t> </a:t>
            </a:r>
            <a:r>
              <a:rPr lang="en-IN" sz="1000" b="1" kern="0" dirty="0">
                <a:solidFill>
                  <a:srgbClr val="9BBA43"/>
                </a:solidFill>
                <a:latin typeface="+mn-lt"/>
                <a:hlinkClick r:id="rId2"/>
              </a:rPr>
              <a:t>[1]</a:t>
            </a:r>
            <a:r>
              <a:rPr lang="en-IN" sz="1000" b="1" kern="0" dirty="0">
                <a:solidFill>
                  <a:srgbClr val="9BBA43"/>
                </a:solidFill>
                <a:latin typeface="+mn-lt"/>
              </a:rPr>
              <a:t> </a:t>
            </a:r>
            <a:endParaRPr lang="en-IN" sz="1000" b="1" kern="0" baseline="0" dirty="0">
              <a:solidFill>
                <a:srgbClr val="9BBA43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FAF2E6D-5E9E-46AB-84B3-D4A02FC1BD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3472" y="1990694"/>
            <a:ext cx="4383933" cy="21372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A8B0D89-EB83-4BE5-84B1-88EAC546AF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2075985"/>
            <a:ext cx="3960440" cy="20519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BA26360-90A9-465E-AB7B-C5D2E03ADC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24630" y="4378596"/>
            <a:ext cx="4142740" cy="21372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548393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DBD4E-6BDA-4C54-9216-B37057FB5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Agenda</a:t>
            </a:r>
          </a:p>
        </p:txBody>
      </p:sp>
      <p:sp>
        <p:nvSpPr>
          <p:cNvPr id="27" name="MIO_AGENDA_ELEMENT_TITEL_4">
            <a:hlinkClick r:id="" action="ppaction://noaction"/>
            <a:extLst>
              <a:ext uri="{FF2B5EF4-FFF2-40B4-BE49-F238E27FC236}">
                <a16:creationId xmlns:a16="http://schemas.microsoft.com/office/drawing/2014/main" id="{5F7EE3AB-0A83-4648-A26A-22CC76D546A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1241679" y="3212655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The Magic of Words: Exploring NLP</a:t>
            </a:r>
          </a:p>
        </p:txBody>
      </p:sp>
      <p:sp>
        <p:nvSpPr>
          <p:cNvPr id="28" name="MIO_AGENDA_ELEMENT_TITEL_3">
            <a:hlinkClick r:id="" action="ppaction://noaction"/>
            <a:extLst>
              <a:ext uri="{FF2B5EF4-FFF2-40B4-BE49-F238E27FC236}">
                <a16:creationId xmlns:a16="http://schemas.microsoft.com/office/drawing/2014/main" id="{C5EDBFCD-C3A1-4E98-8496-82EECAE6FE2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241678" y="256655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/>
              <a:t>Understanding AI, ML, and DL</a:t>
            </a:r>
            <a:endParaRPr lang="en-US" sz="32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9" name="MIO_AGENDA_ELEMENT_TITEL_1">
            <a:hlinkClick r:id="" action="ppaction://noaction"/>
            <a:extLst>
              <a:ext uri="{FF2B5EF4-FFF2-40B4-BE49-F238E27FC236}">
                <a16:creationId xmlns:a16="http://schemas.microsoft.com/office/drawing/2014/main" id="{AFCAEBBB-21F5-4E7A-B2FF-33FEC0318CC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1235074" y="126841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Introduction</a:t>
            </a:r>
          </a:p>
        </p:txBody>
      </p:sp>
      <p:sp>
        <p:nvSpPr>
          <p:cNvPr id="30" name="MIO_AGENDA_ELEMENT_TITEL_2">
            <a:hlinkClick r:id="" action="ppaction://noaction"/>
            <a:extLst>
              <a:ext uri="{FF2B5EF4-FFF2-40B4-BE49-F238E27FC236}">
                <a16:creationId xmlns:a16="http://schemas.microsoft.com/office/drawing/2014/main" id="{0517FAAD-E521-41E5-A920-2B7BA63A921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235075" y="191649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cs typeface="Calibri" panose="020F0502020204030204" pitchFamily="34" charset="0"/>
              </a:rPr>
              <a:t>Our Diverse Expertise at Infineon</a:t>
            </a:r>
          </a:p>
        </p:txBody>
      </p:sp>
      <p:sp>
        <p:nvSpPr>
          <p:cNvPr id="31" name="MIO_AGENDA_ELEMENT_ELEMENTNUMBER_3">
            <a:hlinkClick r:id="" action="ppaction://noaction"/>
            <a:extLst>
              <a:ext uri="{FF2B5EF4-FFF2-40B4-BE49-F238E27FC236}">
                <a16:creationId xmlns:a16="http://schemas.microsoft.com/office/drawing/2014/main" id="{416C2E09-3F65-4DE1-9E70-B438F5D5008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34433" y="2564574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2" name="MIO_AGENDA_ELEMENT_ELEMENTNUMBER_4">
            <a:hlinkClick r:id="" action="ppaction://noaction"/>
            <a:extLst>
              <a:ext uri="{FF2B5EF4-FFF2-40B4-BE49-F238E27FC236}">
                <a16:creationId xmlns:a16="http://schemas.microsoft.com/office/drawing/2014/main" id="{7F08F1CC-69CF-401B-A20B-FFE24BE3CE2E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34433" y="3212655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4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9D5F54F9-CF45-495E-95FF-58411168B182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334433" y="191649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5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B81BB8D1-C42D-4126-8291-252C758E66F3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335360" y="126841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6" name="MIO_AGENDA_ELEMENT_TITEL_5">
            <a:hlinkClick r:id="" action="ppaction://noaction"/>
            <a:extLst>
              <a:ext uri="{FF2B5EF4-FFF2-40B4-BE49-F238E27FC236}">
                <a16:creationId xmlns:a16="http://schemas.microsoft.com/office/drawing/2014/main" id="{7FAB6CE2-DD0D-48D0-82C0-AA7CC07B53B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1235075" y="3860736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Generative AI &amp; LLM’s</a:t>
            </a:r>
          </a:p>
        </p:txBody>
      </p:sp>
      <p:sp>
        <p:nvSpPr>
          <p:cNvPr id="37" name="MIO_AGENDA_ELEMENT_ELEMENTNUMBER_5">
            <a:hlinkClick r:id="" action="ppaction://noaction"/>
            <a:extLst>
              <a:ext uri="{FF2B5EF4-FFF2-40B4-BE49-F238E27FC236}">
                <a16:creationId xmlns:a16="http://schemas.microsoft.com/office/drawing/2014/main" id="{CE77E5AB-3A7F-4455-8BF0-F8EA0126F171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334433" y="3860736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5</a:t>
            </a:r>
            <a:endParaRPr lang="en-US" sz="20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8" name="MIO_AGENDA_ELEMENT_TITEL_6">
            <a:hlinkClick r:id="" action="ppaction://noaction"/>
            <a:extLst>
              <a:ext uri="{FF2B5EF4-FFF2-40B4-BE49-F238E27FC236}">
                <a16:creationId xmlns:a16="http://schemas.microsoft.com/office/drawing/2014/main" id="{7CEBD169-3EFB-42F2-B856-3BED5F09E60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1235075" y="4508817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b="1" dirty="0"/>
              <a:t>From LLMS to Agentic Systems</a:t>
            </a:r>
            <a:endParaRPr lang="en-US" sz="2000" b="1" dirty="0">
              <a:cs typeface="Calibri" panose="020F0502020204030204" pitchFamily="34" charset="0"/>
            </a:endParaRPr>
          </a:p>
        </p:txBody>
      </p:sp>
      <p:sp>
        <p:nvSpPr>
          <p:cNvPr id="39" name="MIO_AGENDA_ELEMENT_ELEMENTNUMBER_6">
            <a:hlinkClick r:id="" action="ppaction://noaction"/>
            <a:extLst>
              <a:ext uri="{FF2B5EF4-FFF2-40B4-BE49-F238E27FC236}">
                <a16:creationId xmlns:a16="http://schemas.microsoft.com/office/drawing/2014/main" id="{06FB1344-D58E-4AA7-B6D4-323DEDF397EB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334433" y="4508817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40" name="MIO_AGENDA_ELEMENT_TITEL_7">
            <a:hlinkClick r:id="" action="ppaction://noaction"/>
            <a:extLst>
              <a:ext uri="{FF2B5EF4-FFF2-40B4-BE49-F238E27FC236}">
                <a16:creationId xmlns:a16="http://schemas.microsoft.com/office/drawing/2014/main" id="{6EC1C474-5C66-46AA-B48D-B95355612F68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1235075" y="5156898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References &amp; Glossary</a:t>
            </a:r>
          </a:p>
        </p:txBody>
      </p:sp>
      <p:sp>
        <p:nvSpPr>
          <p:cNvPr id="41" name="MIO_AGENDA_ELEMENT_ELEMENTNUMBER_7">
            <a:hlinkClick r:id="" action="ppaction://noaction"/>
            <a:extLst>
              <a:ext uri="{FF2B5EF4-FFF2-40B4-BE49-F238E27FC236}">
                <a16:creationId xmlns:a16="http://schemas.microsoft.com/office/drawing/2014/main" id="{36BB4503-4CFC-444E-BD86-0E2BFCBB440D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334433" y="5156898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7</a:t>
            </a:r>
            <a:endParaRPr lang="en-US" sz="20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61913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C1A401-5196-6546-254E-1A6B14AE9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om LLM’s to Agentic Systems</a:t>
            </a:r>
            <a:endParaRPr lang="en-IN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ABB731E-4D03-97B9-76ED-52602B9D0761}"/>
              </a:ext>
            </a:extLst>
          </p:cNvPr>
          <p:cNvSpPr/>
          <p:nvPr/>
        </p:nvSpPr>
        <p:spPr bwMode="auto">
          <a:xfrm>
            <a:off x="335360" y="1040153"/>
            <a:ext cx="11017224" cy="648072"/>
          </a:xfrm>
          <a:prstGeom prst="roundRect">
            <a:avLst/>
          </a:prstGeom>
          <a:solidFill>
            <a:srgbClr val="9C216E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r>
              <a:rPr lang="en-US" dirty="0">
                <a:solidFill>
                  <a:schemeClr val="bg1"/>
                </a:solidFill>
              </a:rPr>
              <a:t>LLMs generate answers, but they aren’t inherently goal-directed or execution-capable. Agents add planning, tools, memory, and verification to deliver reliable outcomes.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360C368C-D6F1-3DB4-9681-67AA858CF8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7957043"/>
              </p:ext>
            </p:extLst>
          </p:nvPr>
        </p:nvGraphicFramePr>
        <p:xfrm>
          <a:off x="4348136" y="1953787"/>
          <a:ext cx="7088336" cy="41374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2CD82465-3250-016C-5ACC-3421A626954D}"/>
              </a:ext>
            </a:extLst>
          </p:cNvPr>
          <p:cNvSpPr txBox="1"/>
          <p:nvPr/>
        </p:nvSpPr>
        <p:spPr bwMode="auto">
          <a:xfrm>
            <a:off x="304135" y="1811813"/>
            <a:ext cx="4352032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800" kern="0" baseline="0" dirty="0">
                <a:latin typeface="+mn-lt"/>
                <a:ea typeface="+mn-ea"/>
                <a:cs typeface="+mn-cs"/>
              </a:rPr>
              <a:t>Limitation that LLMS come with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22648E7-B407-6D45-9826-3363D0D8D0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3435" y="2714906"/>
            <a:ext cx="2924193" cy="2924193"/>
          </a:xfrm>
          <a:prstGeom prst="rect">
            <a:avLst/>
          </a:prstGeom>
        </p:spPr>
      </p:pic>
      <p:pic>
        <p:nvPicPr>
          <p:cNvPr id="3074" name="Picture 2" descr="Llm Images – Browse 25,095 Stock Photos, Vectors, and Video ...">
            <a:extLst>
              <a:ext uri="{FF2B5EF4-FFF2-40B4-BE49-F238E27FC236}">
                <a16:creationId xmlns:a16="http://schemas.microsoft.com/office/drawing/2014/main" id="{D5EEB2E5-F0A7-8A20-25EE-567BD0FB91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6827" y="3687195"/>
            <a:ext cx="746340" cy="776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hought Bubble: Cloud 14">
            <a:extLst>
              <a:ext uri="{FF2B5EF4-FFF2-40B4-BE49-F238E27FC236}">
                <a16:creationId xmlns:a16="http://schemas.microsoft.com/office/drawing/2014/main" id="{F4C65A3D-ACA5-0744-E14E-C566783FF6D1}"/>
              </a:ext>
            </a:extLst>
          </p:cNvPr>
          <p:cNvSpPr/>
          <p:nvPr/>
        </p:nvSpPr>
        <p:spPr bwMode="auto">
          <a:xfrm>
            <a:off x="191344" y="2289440"/>
            <a:ext cx="1944216" cy="995544"/>
          </a:xfrm>
          <a:prstGeom prst="cloudCallout">
            <a:avLst>
              <a:gd name="adj1" fmla="val 56976"/>
              <a:gd name="adj2" fmla="val 72974"/>
            </a:avLst>
          </a:pr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Overloaded with task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446364-C7BA-4EAE-B45F-854B3A7714A7}"/>
              </a:ext>
            </a:extLst>
          </p:cNvPr>
          <p:cNvSpPr/>
          <p:nvPr/>
        </p:nvSpPr>
        <p:spPr bwMode="auto">
          <a:xfrm>
            <a:off x="4223792" y="5373216"/>
            <a:ext cx="7416824" cy="718037"/>
          </a:xfrm>
          <a:prstGeom prst="rect">
            <a:avLst/>
          </a:prstGeom>
          <a:noFill/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891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 animBg="1"/>
      <p:bldGraphic spid="8" grpId="0">
        <p:bldAsOne/>
      </p:bldGraphic>
      <p:bldP spid="9" grpId="0"/>
      <p:bldP spid="15" grpId="0" animBg="1"/>
      <p:bldP spid="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569593-CCC8-EB39-ABFB-2170FA079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hy Agents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D7DA303-962E-F213-2EA4-EFA9C6CBE4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8559" y="2494609"/>
            <a:ext cx="1666875" cy="14097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28282BC-AC27-9D6A-7811-B8AD8C6E53F1}"/>
              </a:ext>
            </a:extLst>
          </p:cNvPr>
          <p:cNvSpPr txBox="1"/>
          <p:nvPr/>
        </p:nvSpPr>
        <p:spPr bwMode="auto">
          <a:xfrm>
            <a:off x="1124583" y="3904309"/>
            <a:ext cx="1522859" cy="634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800" kern="0" baseline="0" dirty="0">
                <a:latin typeface="+mn-lt"/>
                <a:ea typeface="+mn-ea"/>
                <a:cs typeface="+mn-cs"/>
              </a:rPr>
              <a:t>Orchestrator/ Manager</a:t>
            </a:r>
          </a:p>
        </p:txBody>
      </p:sp>
      <p:sp>
        <p:nvSpPr>
          <p:cNvPr id="9" name="Speech Bubble: Oval 8">
            <a:extLst>
              <a:ext uri="{FF2B5EF4-FFF2-40B4-BE49-F238E27FC236}">
                <a16:creationId xmlns:a16="http://schemas.microsoft.com/office/drawing/2014/main" id="{95557CA2-972F-F23B-9F40-EB00BD62B03F}"/>
              </a:ext>
            </a:extLst>
          </p:cNvPr>
          <p:cNvSpPr/>
          <p:nvPr/>
        </p:nvSpPr>
        <p:spPr bwMode="auto">
          <a:xfrm>
            <a:off x="2091839" y="2098648"/>
            <a:ext cx="1666875" cy="1008113"/>
          </a:xfrm>
          <a:prstGeom prst="wedgeEllipseCallout">
            <a:avLst>
              <a:gd name="adj1" fmla="val -64203"/>
              <a:gd name="adj2" fmla="val 43567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9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 assign tasks to agents and make sure they are executed in a proper structure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82BDDA58-0815-FEEB-9F84-0B00197A3794}"/>
              </a:ext>
            </a:extLst>
          </p:cNvPr>
          <p:cNvSpPr/>
          <p:nvPr/>
        </p:nvSpPr>
        <p:spPr bwMode="auto">
          <a:xfrm>
            <a:off x="2492735" y="3538809"/>
            <a:ext cx="1368152" cy="288032"/>
          </a:xfrm>
          <a:prstGeom prst="right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6C39C44-6E4B-C955-DE18-6EA4D2C7E464}"/>
              </a:ext>
            </a:extLst>
          </p:cNvPr>
          <p:cNvSpPr/>
          <p:nvPr/>
        </p:nvSpPr>
        <p:spPr bwMode="auto">
          <a:xfrm>
            <a:off x="4148919" y="2494609"/>
            <a:ext cx="5832648" cy="1836288"/>
          </a:xfrm>
          <a:prstGeom prst="roundRect">
            <a:avLst/>
          </a:prstGeom>
          <a:noFill/>
          <a:ln w="9525">
            <a:solidFill>
              <a:srgbClr val="9C216E"/>
            </a:solidFill>
            <a:prstDash val="dash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098" name="Picture 2" descr="Agent - Free people icons">
            <a:extLst>
              <a:ext uri="{FF2B5EF4-FFF2-40B4-BE49-F238E27FC236}">
                <a16:creationId xmlns:a16="http://schemas.microsoft.com/office/drawing/2014/main" id="{2EFA28D1-FDF2-93BF-38BB-4CB380EF99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1799" y="2626077"/>
            <a:ext cx="1431602" cy="1431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Agent - Free people icons">
            <a:extLst>
              <a:ext uri="{FF2B5EF4-FFF2-40B4-BE49-F238E27FC236}">
                <a16:creationId xmlns:a16="http://schemas.microsoft.com/office/drawing/2014/main" id="{5067FAF4-27C3-869D-85BE-495E30C261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5143" y="2626077"/>
            <a:ext cx="1431602" cy="1431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FC131468-DE8C-D601-4D2F-2A71EDDE7939}"/>
              </a:ext>
            </a:extLst>
          </p:cNvPr>
          <p:cNvSpPr/>
          <p:nvPr/>
        </p:nvSpPr>
        <p:spPr bwMode="auto">
          <a:xfrm>
            <a:off x="5517071" y="3412753"/>
            <a:ext cx="648072" cy="288032"/>
          </a:xfrm>
          <a:prstGeom prst="right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4EA3F796-9DD5-E8E2-26B2-69A91F5FDEE2}"/>
              </a:ext>
            </a:extLst>
          </p:cNvPr>
          <p:cNvSpPr/>
          <p:nvPr/>
        </p:nvSpPr>
        <p:spPr bwMode="auto">
          <a:xfrm>
            <a:off x="7596745" y="3371758"/>
            <a:ext cx="648072" cy="288032"/>
          </a:xfrm>
          <a:prstGeom prst="right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7" name="Picture 2" descr="Agent - Free people icons">
            <a:extLst>
              <a:ext uri="{FF2B5EF4-FFF2-40B4-BE49-F238E27FC236}">
                <a16:creationId xmlns:a16="http://schemas.microsoft.com/office/drawing/2014/main" id="{95C6B590-9440-74A1-247D-7FF9D0A9E2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6877" y="2655957"/>
            <a:ext cx="1431602" cy="1431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2AF1E5B-3D61-DF3A-81CE-327318FFEE76}"/>
              </a:ext>
            </a:extLst>
          </p:cNvPr>
          <p:cNvSpPr/>
          <p:nvPr/>
        </p:nvSpPr>
        <p:spPr bwMode="auto">
          <a:xfrm>
            <a:off x="5061983" y="2159308"/>
            <a:ext cx="3904347" cy="506622"/>
          </a:xfrm>
          <a:prstGeom prst="round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asks are now distributed among agents as per their expertise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AC05F08-9748-FB25-82E7-580466B354C6}"/>
              </a:ext>
            </a:extLst>
          </p:cNvPr>
          <p:cNvSpPr/>
          <p:nvPr/>
        </p:nvSpPr>
        <p:spPr bwMode="auto">
          <a:xfrm>
            <a:off x="5061983" y="4114873"/>
            <a:ext cx="3904347" cy="42371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aseline="0" dirty="0">
                <a:latin typeface="+mn-lt"/>
                <a:ea typeface="+mn-ea"/>
                <a:cs typeface="+mn-cs"/>
              </a:rPr>
              <a:t>Workflow is also well structured</a:t>
            </a:r>
          </a:p>
        </p:txBody>
      </p:sp>
    </p:spTree>
    <p:extLst>
      <p:ext uri="{BB962C8B-B14F-4D97-AF65-F5344CB8AC3E}">
        <p14:creationId xmlns:p14="http://schemas.microsoft.com/office/powerpoint/2010/main" val="31305835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844BA-7A31-449F-A4B7-0F21D768F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494" y="197685"/>
            <a:ext cx="9613068" cy="720000"/>
          </a:xfrm>
        </p:spPr>
        <p:txBody>
          <a:bodyPr/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ow Agentic AI Systems Work: </a:t>
            </a:r>
            <a:br>
              <a:rPr lang="en-IN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IN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Thinking-Acting Loop</a:t>
            </a:r>
            <a:endParaRPr lang="en-IN" sz="2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Arrow: Bent 11">
            <a:extLst>
              <a:ext uri="{FF2B5EF4-FFF2-40B4-BE49-F238E27FC236}">
                <a16:creationId xmlns:a16="http://schemas.microsoft.com/office/drawing/2014/main" id="{5AEECDB4-49D0-4A69-A31A-253DDE834F10}"/>
              </a:ext>
            </a:extLst>
          </p:cNvPr>
          <p:cNvSpPr/>
          <p:nvPr/>
        </p:nvSpPr>
        <p:spPr bwMode="auto">
          <a:xfrm>
            <a:off x="4894598" y="1856140"/>
            <a:ext cx="1008112" cy="792088"/>
          </a:xfrm>
          <a:prstGeom prst="ben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Arrow: Bent 13">
            <a:extLst>
              <a:ext uri="{FF2B5EF4-FFF2-40B4-BE49-F238E27FC236}">
                <a16:creationId xmlns:a16="http://schemas.microsoft.com/office/drawing/2014/main" id="{2A530CC2-2989-496D-9580-5D0247F2F6ED}"/>
              </a:ext>
            </a:extLst>
          </p:cNvPr>
          <p:cNvSpPr/>
          <p:nvPr/>
        </p:nvSpPr>
        <p:spPr bwMode="auto">
          <a:xfrm rot="5400000">
            <a:off x="6087487" y="2044387"/>
            <a:ext cx="1008112" cy="792088"/>
          </a:xfrm>
          <a:prstGeom prst="ben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Arrow: Bent 14">
            <a:extLst>
              <a:ext uri="{FF2B5EF4-FFF2-40B4-BE49-F238E27FC236}">
                <a16:creationId xmlns:a16="http://schemas.microsoft.com/office/drawing/2014/main" id="{BF62E6F0-899B-42CE-9EE6-B09861BC72A3}"/>
              </a:ext>
            </a:extLst>
          </p:cNvPr>
          <p:cNvSpPr/>
          <p:nvPr/>
        </p:nvSpPr>
        <p:spPr bwMode="auto">
          <a:xfrm rot="16200000">
            <a:off x="4690512" y="2957414"/>
            <a:ext cx="1008112" cy="792088"/>
          </a:xfrm>
          <a:prstGeom prst="ben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Arrow: Bent 15">
            <a:extLst>
              <a:ext uri="{FF2B5EF4-FFF2-40B4-BE49-F238E27FC236}">
                <a16:creationId xmlns:a16="http://schemas.microsoft.com/office/drawing/2014/main" id="{4AC2E342-9D2D-4C66-B77C-E7A513EBE4C1}"/>
              </a:ext>
            </a:extLst>
          </p:cNvPr>
          <p:cNvSpPr/>
          <p:nvPr/>
        </p:nvSpPr>
        <p:spPr bwMode="auto">
          <a:xfrm rot="10800000">
            <a:off x="5902710" y="3126585"/>
            <a:ext cx="1008112" cy="792088"/>
          </a:xfrm>
          <a:prstGeom prst="ben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1" name="Graphic 20" descr="Person with idea">
            <a:extLst>
              <a:ext uri="{FF2B5EF4-FFF2-40B4-BE49-F238E27FC236}">
                <a16:creationId xmlns:a16="http://schemas.microsoft.com/office/drawing/2014/main" id="{A0C09B2B-AE42-43DD-B3E0-185CB845B7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04563" y="1567013"/>
            <a:ext cx="1008112" cy="1008112"/>
          </a:xfrm>
          <a:prstGeom prst="rect">
            <a:avLst/>
          </a:prstGeom>
        </p:spPr>
      </p:pic>
      <p:pic>
        <p:nvPicPr>
          <p:cNvPr id="23" name="Graphic 22" descr="Classroom">
            <a:extLst>
              <a:ext uri="{FF2B5EF4-FFF2-40B4-BE49-F238E27FC236}">
                <a16:creationId xmlns:a16="http://schemas.microsoft.com/office/drawing/2014/main" id="{27BC9608-14B2-4C6A-8F9E-53C8C26303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00527" y="3285257"/>
            <a:ext cx="792087" cy="792087"/>
          </a:xfrm>
          <a:prstGeom prst="rect">
            <a:avLst/>
          </a:prstGeom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BD0B3426-28D1-49EA-8A3F-76AB1105D5E8}"/>
              </a:ext>
            </a:extLst>
          </p:cNvPr>
          <p:cNvSpPr/>
          <p:nvPr/>
        </p:nvSpPr>
        <p:spPr bwMode="auto">
          <a:xfrm>
            <a:off x="1055440" y="1355921"/>
            <a:ext cx="2583374" cy="1770664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t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 PERCIEVE: Taking in the world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gentic AI starts by gathering information from multiple sources – just </a:t>
            </a:r>
            <a:r>
              <a:rPr lang="en-IN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ke humans use their environment</a:t>
            </a: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71DDA110-CF28-4C1D-9FC5-092355C1CAB2}"/>
              </a:ext>
            </a:extLst>
          </p:cNvPr>
          <p:cNvSpPr/>
          <p:nvPr/>
        </p:nvSpPr>
        <p:spPr bwMode="auto">
          <a:xfrm>
            <a:off x="8400256" y="3357619"/>
            <a:ext cx="2736304" cy="1511537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t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. ACT: Getting Things Done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ing tools and systems (often through MCP), the AI executes its plan – from simple tasks to complex multistep operations.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27229A0-0EA7-437C-8A4A-0DD620D875AA}"/>
              </a:ext>
            </a:extLst>
          </p:cNvPr>
          <p:cNvSpPr/>
          <p:nvPr/>
        </p:nvSpPr>
        <p:spPr bwMode="auto">
          <a:xfrm>
            <a:off x="8400256" y="1355922"/>
            <a:ext cx="2736304" cy="1731036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t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THINKING: Reasoning and Planning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AI analyses the situation, breaks down complex problems into steps, and creates a strategic plan to achieve its goal</a:t>
            </a: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D7EA5535-3454-4FB2-892A-AA8D8DFFC1F6}"/>
              </a:ext>
            </a:extLst>
          </p:cNvPr>
          <p:cNvSpPr/>
          <p:nvPr/>
        </p:nvSpPr>
        <p:spPr bwMode="auto">
          <a:xfrm>
            <a:off x="1055441" y="3212783"/>
            <a:ext cx="2583374" cy="1724716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t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. LEARN: Getting Smarter Over Time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system learns from outcomes, refines its strategies, and becomes more effective with each iteration.</a:t>
            </a: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BB423C89-0DDB-4A05-94E5-2516DFC16522}"/>
              </a:ext>
            </a:extLst>
          </p:cNvPr>
          <p:cNvSpPr/>
          <p:nvPr/>
        </p:nvSpPr>
        <p:spPr bwMode="auto">
          <a:xfrm>
            <a:off x="1199456" y="5294361"/>
            <a:ext cx="2012050" cy="1158972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t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oal-Oriented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orks Systematically towards specific objective</a:t>
            </a: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491D3F6-2A19-4DC2-9847-82B996414BB0}"/>
              </a:ext>
            </a:extLst>
          </p:cNvPr>
          <p:cNvSpPr/>
          <p:nvPr/>
        </p:nvSpPr>
        <p:spPr bwMode="auto">
          <a:xfrm>
            <a:off x="3719736" y="5333740"/>
            <a:ext cx="1944207" cy="1111176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onomous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rates independently once given a goal</a:t>
            </a: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FECA8900-FC5C-43F8-9DBF-C5D76C0B40EF}"/>
              </a:ext>
            </a:extLst>
          </p:cNvPr>
          <p:cNvSpPr/>
          <p:nvPr/>
        </p:nvSpPr>
        <p:spPr bwMode="auto">
          <a:xfrm>
            <a:off x="6195499" y="5333740"/>
            <a:ext cx="2019336" cy="111117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ol-Using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verages various capabilities through MCP</a:t>
            </a: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1987C36F-8C47-4EFC-AC14-3DF8DB2F25B3}"/>
              </a:ext>
            </a:extLst>
          </p:cNvPr>
          <p:cNvSpPr/>
          <p:nvPr/>
        </p:nvSpPr>
        <p:spPr bwMode="auto">
          <a:xfrm>
            <a:off x="8647936" y="5358423"/>
            <a:ext cx="2019336" cy="1086483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aptive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arns and improves from experience</a:t>
            </a: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5" name="Graphic 34" descr="Document">
            <a:extLst>
              <a:ext uri="{FF2B5EF4-FFF2-40B4-BE49-F238E27FC236}">
                <a16:creationId xmlns:a16="http://schemas.microsoft.com/office/drawing/2014/main" id="{CBF8D3C9-8B80-48A2-8A30-19EC0C6200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18195" y="1845491"/>
            <a:ext cx="511960" cy="511960"/>
          </a:xfrm>
          <a:prstGeom prst="rect">
            <a:avLst/>
          </a:prstGeom>
        </p:spPr>
      </p:pic>
      <p:pic>
        <p:nvPicPr>
          <p:cNvPr id="39" name="Graphic 38" descr="Voice">
            <a:extLst>
              <a:ext uri="{FF2B5EF4-FFF2-40B4-BE49-F238E27FC236}">
                <a16:creationId xmlns:a16="http://schemas.microsoft.com/office/drawing/2014/main" id="{B46DC52D-8D00-4919-B1B9-6E9BB1226C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07441" y="2121101"/>
            <a:ext cx="362097" cy="362097"/>
          </a:xfrm>
          <a:prstGeom prst="rect">
            <a:avLst/>
          </a:prstGeom>
        </p:spPr>
      </p:pic>
      <p:pic>
        <p:nvPicPr>
          <p:cNvPr id="41" name="Graphic 40" descr="Link">
            <a:extLst>
              <a:ext uri="{FF2B5EF4-FFF2-40B4-BE49-F238E27FC236}">
                <a16:creationId xmlns:a16="http://schemas.microsoft.com/office/drawing/2014/main" id="{ADF49A4E-D67C-4CC7-B99F-C61BA1DDD92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527685" y="1855504"/>
            <a:ext cx="308166" cy="308166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7CF32432-64A9-4308-8D32-98C5658C1D9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86861" y="3388189"/>
            <a:ext cx="1051682" cy="587469"/>
          </a:xfrm>
          <a:prstGeom prst="rect">
            <a:avLst/>
          </a:prstGeom>
        </p:spPr>
      </p:pic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D451C04-45BE-4F3C-A4B5-C079D1BE469B}"/>
              </a:ext>
            </a:extLst>
          </p:cNvPr>
          <p:cNvCxnSpPr/>
          <p:nvPr/>
        </p:nvCxnSpPr>
        <p:spPr>
          <a:xfrm>
            <a:off x="1695366" y="5023699"/>
            <a:ext cx="8574110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65AD4477-B9BB-4EAC-AEC5-38D24B480D09}"/>
              </a:ext>
            </a:extLst>
          </p:cNvPr>
          <p:cNvSpPr/>
          <p:nvPr/>
        </p:nvSpPr>
        <p:spPr bwMode="auto">
          <a:xfrm>
            <a:off x="4673056" y="4659573"/>
            <a:ext cx="2413805" cy="277928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y Characteristics</a:t>
            </a:r>
          </a:p>
        </p:txBody>
      </p:sp>
    </p:spTree>
    <p:extLst>
      <p:ext uri="{BB962C8B-B14F-4D97-AF65-F5344CB8AC3E}">
        <p14:creationId xmlns:p14="http://schemas.microsoft.com/office/powerpoint/2010/main" val="2216365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5AFA44-6853-4E1D-8A74-563AFD591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hat is MCP (Model Context Protocol)?</a:t>
            </a:r>
          </a:p>
        </p:txBody>
      </p:sp>
      <p:pic>
        <p:nvPicPr>
          <p:cNvPr id="6" name="Graphic 5" descr="Brain in head">
            <a:extLst>
              <a:ext uri="{FF2B5EF4-FFF2-40B4-BE49-F238E27FC236}">
                <a16:creationId xmlns:a16="http://schemas.microsoft.com/office/drawing/2014/main" id="{4096D33D-1DE7-4DB5-B482-3DA013B234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79275" y="4665690"/>
            <a:ext cx="440196" cy="440196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B50ED59-DADD-48EC-83C3-56635AC0984A}"/>
              </a:ext>
            </a:extLst>
          </p:cNvPr>
          <p:cNvSpPr/>
          <p:nvPr/>
        </p:nvSpPr>
        <p:spPr bwMode="auto">
          <a:xfrm>
            <a:off x="5042848" y="1956185"/>
            <a:ext cx="1800200" cy="1019434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del Context Protocol</a:t>
            </a:r>
          </a:p>
          <a:p>
            <a:pPr algn="ctr" defTabSz="576000" eaLnBrk="0" hangingPunct="0">
              <a:lnSpc>
                <a:spcPct val="120000"/>
              </a:lnSpc>
            </a:pPr>
            <a:endParaRPr lang="en-IN" b="1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Graphic 8" descr="Database">
            <a:extLst>
              <a:ext uri="{FF2B5EF4-FFF2-40B4-BE49-F238E27FC236}">
                <a16:creationId xmlns:a16="http://schemas.microsoft.com/office/drawing/2014/main" id="{36EE8C8A-5D2C-41C4-9EF3-E26ADC0894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51243" y="1848273"/>
            <a:ext cx="456451" cy="456451"/>
          </a:xfrm>
          <a:prstGeom prst="rect">
            <a:avLst/>
          </a:prstGeom>
        </p:spPr>
      </p:pic>
      <p:pic>
        <p:nvPicPr>
          <p:cNvPr id="11" name="Graphic 10" descr="Monitor">
            <a:extLst>
              <a:ext uri="{FF2B5EF4-FFF2-40B4-BE49-F238E27FC236}">
                <a16:creationId xmlns:a16="http://schemas.microsoft.com/office/drawing/2014/main" id="{96D5DA30-783C-4CB1-994E-4DE9DD1BD4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60662" y="3116218"/>
            <a:ext cx="456455" cy="456455"/>
          </a:xfrm>
          <a:prstGeom prst="rect">
            <a:avLst/>
          </a:prstGeom>
        </p:spPr>
      </p:pic>
      <p:pic>
        <p:nvPicPr>
          <p:cNvPr id="13" name="Graphic 12" descr="Single gear">
            <a:extLst>
              <a:ext uri="{FF2B5EF4-FFF2-40B4-BE49-F238E27FC236}">
                <a16:creationId xmlns:a16="http://schemas.microsoft.com/office/drawing/2014/main" id="{1880BAC9-3FE1-4A0D-9442-7708448E47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60662" y="1869182"/>
            <a:ext cx="456455" cy="456455"/>
          </a:xfrm>
          <a:prstGeom prst="rect">
            <a:avLst/>
          </a:prstGeom>
        </p:spPr>
      </p:pic>
      <p:pic>
        <p:nvPicPr>
          <p:cNvPr id="15" name="Graphic 14" descr="Cloud">
            <a:extLst>
              <a:ext uri="{FF2B5EF4-FFF2-40B4-BE49-F238E27FC236}">
                <a16:creationId xmlns:a16="http://schemas.microsoft.com/office/drawing/2014/main" id="{5A7A96A7-3F90-4735-BDA7-7084EC61F4B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91623" y="2997917"/>
            <a:ext cx="575691" cy="575691"/>
          </a:xfrm>
          <a:prstGeom prst="rect">
            <a:avLst/>
          </a:prstGeom>
        </p:spPr>
      </p:pic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C695D4C-55B8-4EB2-9053-099DDC19CCA9}"/>
              </a:ext>
            </a:extLst>
          </p:cNvPr>
          <p:cNvCxnSpPr>
            <a:cxnSpLocks/>
            <a:endCxn id="11" idx="0"/>
          </p:cNvCxnSpPr>
          <p:nvPr/>
        </p:nvCxnSpPr>
        <p:spPr>
          <a:xfrm flipH="1">
            <a:off x="7988890" y="2882719"/>
            <a:ext cx="7314" cy="233499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E503A7F-4C8B-4D47-9043-B6DE46BC7D7A}"/>
              </a:ext>
            </a:extLst>
          </p:cNvPr>
          <p:cNvCxnSpPr>
            <a:cxnSpLocks/>
          </p:cNvCxnSpPr>
          <p:nvPr/>
        </p:nvCxnSpPr>
        <p:spPr>
          <a:xfrm flipH="1">
            <a:off x="4007772" y="2619127"/>
            <a:ext cx="936100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9FAD250-C77C-43A8-958F-672D159A9255}"/>
              </a:ext>
            </a:extLst>
          </p:cNvPr>
          <p:cNvCxnSpPr>
            <a:cxnSpLocks/>
            <a:stCxn id="86" idx="2"/>
            <a:endCxn id="7" idx="0"/>
          </p:cNvCxnSpPr>
          <p:nvPr/>
        </p:nvCxnSpPr>
        <p:spPr>
          <a:xfrm>
            <a:off x="5928531" y="1716698"/>
            <a:ext cx="14417" cy="239487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509821C-9895-4CBD-8A67-F59CD581A5CB}"/>
              </a:ext>
            </a:extLst>
          </p:cNvPr>
          <p:cNvCxnSpPr>
            <a:cxnSpLocks/>
          </p:cNvCxnSpPr>
          <p:nvPr/>
        </p:nvCxnSpPr>
        <p:spPr>
          <a:xfrm>
            <a:off x="7019187" y="2683499"/>
            <a:ext cx="89237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5A6D267-B57D-4C29-83D0-5C7593655D2E}"/>
              </a:ext>
            </a:extLst>
          </p:cNvPr>
          <p:cNvCxnSpPr/>
          <p:nvPr/>
        </p:nvCxnSpPr>
        <p:spPr>
          <a:xfrm>
            <a:off x="4301307" y="1874738"/>
            <a:ext cx="792088" cy="36004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0D92883-190E-43E1-89D8-4C233BAE4048}"/>
              </a:ext>
            </a:extLst>
          </p:cNvPr>
          <p:cNvCxnSpPr/>
          <p:nvPr/>
        </p:nvCxnSpPr>
        <p:spPr>
          <a:xfrm flipH="1">
            <a:off x="6774961" y="1903407"/>
            <a:ext cx="764072" cy="36000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DCA4523F-80AC-4463-92AF-21D7B8CCF6B8}"/>
              </a:ext>
            </a:extLst>
          </p:cNvPr>
          <p:cNvCxnSpPr>
            <a:cxnSpLocks/>
          </p:cNvCxnSpPr>
          <p:nvPr/>
        </p:nvCxnSpPr>
        <p:spPr>
          <a:xfrm flipV="1">
            <a:off x="4214336" y="2882719"/>
            <a:ext cx="799216" cy="353639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C952F82-95E4-4D20-9F1F-10FE729BFB0E}"/>
              </a:ext>
            </a:extLst>
          </p:cNvPr>
          <p:cNvCxnSpPr/>
          <p:nvPr/>
        </p:nvCxnSpPr>
        <p:spPr>
          <a:xfrm>
            <a:off x="6841969" y="2927619"/>
            <a:ext cx="776607" cy="287546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7392446C-710F-465E-95DE-318F014232E1}"/>
              </a:ext>
            </a:extLst>
          </p:cNvPr>
          <p:cNvCxnSpPr>
            <a:cxnSpLocks/>
          </p:cNvCxnSpPr>
          <p:nvPr/>
        </p:nvCxnSpPr>
        <p:spPr>
          <a:xfrm rot="16200000" flipH="1">
            <a:off x="5928067" y="-198955"/>
            <a:ext cx="28988" cy="4107286"/>
          </a:xfrm>
          <a:prstGeom prst="bentConnector3">
            <a:avLst>
              <a:gd name="adj1" fmla="val -788602"/>
            </a:avLst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39042878-14D8-451E-B55B-453452E8E2AD}"/>
              </a:ext>
            </a:extLst>
          </p:cNvPr>
          <p:cNvSpPr/>
          <p:nvPr/>
        </p:nvSpPr>
        <p:spPr bwMode="auto">
          <a:xfrm>
            <a:off x="4235627" y="1020919"/>
            <a:ext cx="3385807" cy="695779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CP: The standardized bridge for context, tools, and data</a:t>
            </a:r>
          </a:p>
        </p:txBody>
      </p:sp>
      <p:sp>
        <p:nvSpPr>
          <p:cNvPr id="91" name="Arrow: Down 90">
            <a:extLst>
              <a:ext uri="{FF2B5EF4-FFF2-40B4-BE49-F238E27FC236}">
                <a16:creationId xmlns:a16="http://schemas.microsoft.com/office/drawing/2014/main" id="{83A0D0BC-2004-4C95-B252-915D4074B692}"/>
              </a:ext>
            </a:extLst>
          </p:cNvPr>
          <p:cNvSpPr/>
          <p:nvPr/>
        </p:nvSpPr>
        <p:spPr bwMode="auto">
          <a:xfrm>
            <a:off x="5855976" y="3132037"/>
            <a:ext cx="216024" cy="924818"/>
          </a:xfrm>
          <a:prstGeom prst="down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2" name="Arrow: Up-Down 91">
            <a:extLst>
              <a:ext uri="{FF2B5EF4-FFF2-40B4-BE49-F238E27FC236}">
                <a16:creationId xmlns:a16="http://schemas.microsoft.com/office/drawing/2014/main" id="{AF10E709-12C9-4DE0-9CA9-F87261B4654E}"/>
              </a:ext>
            </a:extLst>
          </p:cNvPr>
          <p:cNvSpPr/>
          <p:nvPr/>
        </p:nvSpPr>
        <p:spPr bwMode="auto">
          <a:xfrm rot="21209734">
            <a:off x="6114976" y="3078464"/>
            <a:ext cx="216024" cy="924818"/>
          </a:xfrm>
          <a:prstGeom prst="upDown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3" name="Arrow: Up-Down 92">
            <a:extLst>
              <a:ext uri="{FF2B5EF4-FFF2-40B4-BE49-F238E27FC236}">
                <a16:creationId xmlns:a16="http://schemas.microsoft.com/office/drawing/2014/main" id="{463BC5B1-C813-402D-B73A-393C1C294F23}"/>
              </a:ext>
            </a:extLst>
          </p:cNvPr>
          <p:cNvSpPr/>
          <p:nvPr/>
        </p:nvSpPr>
        <p:spPr bwMode="auto">
          <a:xfrm rot="411779">
            <a:off x="5565315" y="3084033"/>
            <a:ext cx="216024" cy="924818"/>
          </a:xfrm>
          <a:prstGeom prst="upDown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baseline="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4" name="Graphic 93" descr="Brain in head">
            <a:extLst>
              <a:ext uri="{FF2B5EF4-FFF2-40B4-BE49-F238E27FC236}">
                <a16:creationId xmlns:a16="http://schemas.microsoft.com/office/drawing/2014/main" id="{0D799C78-5B1C-4B39-B736-0BAE9D6427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77087" y="4503217"/>
            <a:ext cx="644870" cy="644870"/>
          </a:xfrm>
          <a:prstGeom prst="rect">
            <a:avLst/>
          </a:prstGeom>
        </p:spPr>
      </p:pic>
      <p:pic>
        <p:nvPicPr>
          <p:cNvPr id="95" name="Graphic 94" descr="Brain in head">
            <a:extLst>
              <a:ext uri="{FF2B5EF4-FFF2-40B4-BE49-F238E27FC236}">
                <a16:creationId xmlns:a16="http://schemas.microsoft.com/office/drawing/2014/main" id="{923E0E7F-66CF-4464-A4C8-268A34A32A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8449" y="4699746"/>
            <a:ext cx="411068" cy="411068"/>
          </a:xfrm>
          <a:prstGeom prst="rect">
            <a:avLst/>
          </a:prstGeom>
        </p:spPr>
      </p:pic>
      <p:sp>
        <p:nvSpPr>
          <p:cNvPr id="96" name="Rectangle 95">
            <a:extLst>
              <a:ext uri="{FF2B5EF4-FFF2-40B4-BE49-F238E27FC236}">
                <a16:creationId xmlns:a16="http://schemas.microsoft.com/office/drawing/2014/main" id="{0E0BFBDD-EC1E-4BA4-8B1C-A41C3A0DF54F}"/>
              </a:ext>
            </a:extLst>
          </p:cNvPr>
          <p:cNvSpPr/>
          <p:nvPr/>
        </p:nvSpPr>
        <p:spPr bwMode="auto">
          <a:xfrm>
            <a:off x="4331839" y="5129937"/>
            <a:ext cx="1095363" cy="130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asoning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378544BD-C9BA-4AB9-B96E-A2CBD07D9346}"/>
              </a:ext>
            </a:extLst>
          </p:cNvPr>
          <p:cNvSpPr/>
          <p:nvPr/>
        </p:nvSpPr>
        <p:spPr bwMode="auto">
          <a:xfrm>
            <a:off x="5069174" y="5141456"/>
            <a:ext cx="2113948" cy="344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nning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onomous AI Agents</a:t>
            </a:r>
            <a:endParaRPr lang="en-IN" baseline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F76D36A-99C4-4E0A-B0AC-916E842103B9}"/>
              </a:ext>
            </a:extLst>
          </p:cNvPr>
          <p:cNvSpPr/>
          <p:nvPr/>
        </p:nvSpPr>
        <p:spPr bwMode="auto">
          <a:xfrm>
            <a:off x="6793223" y="5080327"/>
            <a:ext cx="776608" cy="179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ting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24DCB1BC-39F5-4BE5-B867-B69138F09180}"/>
              </a:ext>
            </a:extLst>
          </p:cNvPr>
          <p:cNvSpPr/>
          <p:nvPr/>
        </p:nvSpPr>
        <p:spPr bwMode="auto">
          <a:xfrm>
            <a:off x="4214336" y="4391018"/>
            <a:ext cx="3637772" cy="206231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B1B94CFD-9865-4C54-86B2-600AF82CA40F}"/>
              </a:ext>
            </a:extLst>
          </p:cNvPr>
          <p:cNvSpPr/>
          <p:nvPr/>
        </p:nvSpPr>
        <p:spPr bwMode="auto">
          <a:xfrm>
            <a:off x="5294166" y="4115632"/>
            <a:ext cx="1429478" cy="402738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72000" tIns="72000" rIns="72000" bIns="72000" rtlCol="0" anchor="t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gentic AI Layer</a:t>
            </a: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E8097E34-D52F-4E1B-8AD5-DC090E6B2458}"/>
              </a:ext>
            </a:extLst>
          </p:cNvPr>
          <p:cNvCxnSpPr>
            <a:cxnSpLocks/>
          </p:cNvCxnSpPr>
          <p:nvPr/>
        </p:nvCxnSpPr>
        <p:spPr>
          <a:xfrm>
            <a:off x="3872738" y="2700243"/>
            <a:ext cx="0" cy="454752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119">
            <a:extLst>
              <a:ext uri="{FF2B5EF4-FFF2-40B4-BE49-F238E27FC236}">
                <a16:creationId xmlns:a16="http://schemas.microsoft.com/office/drawing/2014/main" id="{761AD917-462E-4D45-8502-156D43B3664D}"/>
              </a:ext>
            </a:extLst>
          </p:cNvPr>
          <p:cNvSpPr/>
          <p:nvPr/>
        </p:nvSpPr>
        <p:spPr bwMode="auto">
          <a:xfrm>
            <a:off x="4333305" y="5795195"/>
            <a:ext cx="3369352" cy="44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gents use MCP to discover and invoke external resources, enabling independent reasoning and action.</a:t>
            </a:r>
            <a:endParaRPr lang="en-IN" b="1" baseline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CE1C30FB-EE93-40F6-9736-D3ED1BDE22F0}"/>
              </a:ext>
            </a:extLst>
          </p:cNvPr>
          <p:cNvSpPr/>
          <p:nvPr/>
        </p:nvSpPr>
        <p:spPr bwMode="auto">
          <a:xfrm>
            <a:off x="3468605" y="2435216"/>
            <a:ext cx="863234" cy="4571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Sources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D6BEE76-6346-447C-8030-EBE74861B0F9}"/>
              </a:ext>
            </a:extLst>
          </p:cNvPr>
          <p:cNvSpPr/>
          <p:nvPr/>
        </p:nvSpPr>
        <p:spPr bwMode="auto">
          <a:xfrm>
            <a:off x="7465376" y="2324119"/>
            <a:ext cx="965420" cy="18088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oud Services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21EF2391-6889-4935-A076-39CB0C2E4651}"/>
              </a:ext>
            </a:extLst>
          </p:cNvPr>
          <p:cNvSpPr/>
          <p:nvPr/>
        </p:nvSpPr>
        <p:spPr bwMode="auto">
          <a:xfrm>
            <a:off x="7513494" y="3661669"/>
            <a:ext cx="965420" cy="18088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er Interfaces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A27081DA-1054-4E20-AC5D-5A777B8F83EA}"/>
              </a:ext>
            </a:extLst>
          </p:cNvPr>
          <p:cNvSpPr/>
          <p:nvPr/>
        </p:nvSpPr>
        <p:spPr bwMode="auto">
          <a:xfrm>
            <a:off x="3397413" y="3703666"/>
            <a:ext cx="965420" cy="2889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ternal Tools/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Is</a:t>
            </a:r>
            <a:endParaRPr lang="en-IN" b="1" baseline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0A6A08AC-71A2-485C-98B4-BC9C5904AFC1}"/>
              </a:ext>
            </a:extLst>
          </p:cNvPr>
          <p:cNvSpPr/>
          <p:nvPr/>
        </p:nvSpPr>
        <p:spPr bwMode="auto">
          <a:xfrm>
            <a:off x="7893603" y="5105886"/>
            <a:ext cx="3853764" cy="804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th MCP, agents no longer need custom integrations for each tool. Instead MCP abstracts and manages all external interactions, letting agentic AI systems scalpt, and coordinate effectively. </a:t>
            </a:r>
          </a:p>
        </p:txBody>
      </p:sp>
      <p:sp>
        <p:nvSpPr>
          <p:cNvPr id="141" name="Rectangle: Rounded Corners 140">
            <a:extLst>
              <a:ext uri="{FF2B5EF4-FFF2-40B4-BE49-F238E27FC236}">
                <a16:creationId xmlns:a16="http://schemas.microsoft.com/office/drawing/2014/main" id="{3F5DDF97-CC73-4D36-B2E7-0F0833B77DEE}"/>
              </a:ext>
            </a:extLst>
          </p:cNvPr>
          <p:cNvSpPr/>
          <p:nvPr/>
        </p:nvSpPr>
        <p:spPr bwMode="auto">
          <a:xfrm>
            <a:off x="495387" y="2324118"/>
            <a:ext cx="2448272" cy="792099"/>
          </a:xfrm>
          <a:prstGeom prst="roundRect">
            <a:avLst/>
          </a:prstGeom>
          <a:noFill/>
          <a:ln w="9525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uture Proof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d new tools without agent code</a:t>
            </a:r>
            <a:endParaRPr lang="en-IN" b="1" baseline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40E39E34-B5FC-41AC-B1F1-276AF157BABC}"/>
              </a:ext>
            </a:extLst>
          </p:cNvPr>
          <p:cNvSpPr/>
          <p:nvPr/>
        </p:nvSpPr>
        <p:spPr bwMode="auto">
          <a:xfrm>
            <a:off x="431913" y="3873905"/>
            <a:ext cx="2448272" cy="719999"/>
          </a:xfrm>
          <a:prstGeom prst="roundRect">
            <a:avLst/>
          </a:prstGeom>
          <a:noFill/>
          <a:ln w="9525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ure Design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andardized Authentication</a:t>
            </a:r>
            <a:endParaRPr lang="en-IN" b="1" baseline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D33C4C21-942E-465C-875D-98B02ECC1A21}"/>
              </a:ext>
            </a:extLst>
          </p:cNvPr>
          <p:cNvSpPr/>
          <p:nvPr/>
        </p:nvSpPr>
        <p:spPr bwMode="auto">
          <a:xfrm>
            <a:off x="9114051" y="1716698"/>
            <a:ext cx="2448272" cy="975092"/>
          </a:xfrm>
          <a:prstGeom prst="roundRect">
            <a:avLst/>
          </a:prstGeom>
          <a:noFill/>
          <a:ln w="9525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ffortless Scaling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e connector infinite possibilities</a:t>
            </a:r>
            <a:endParaRPr lang="en-IN" b="1" baseline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5" name="Rectangle: Rounded Corners 144">
            <a:extLst>
              <a:ext uri="{FF2B5EF4-FFF2-40B4-BE49-F238E27FC236}">
                <a16:creationId xmlns:a16="http://schemas.microsoft.com/office/drawing/2014/main" id="{CA12F0CE-78EA-4B1A-B2F6-C86050891096}"/>
              </a:ext>
            </a:extLst>
          </p:cNvPr>
          <p:cNvSpPr/>
          <p:nvPr/>
        </p:nvSpPr>
        <p:spPr bwMode="auto">
          <a:xfrm>
            <a:off x="9114051" y="3499768"/>
            <a:ext cx="2448272" cy="707691"/>
          </a:xfrm>
          <a:prstGeom prst="roundRect">
            <a:avLst/>
          </a:prstGeom>
          <a:noFill/>
          <a:ln w="9525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b="1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er Joy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IN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uild once, use everywhere</a:t>
            </a:r>
            <a:endParaRPr lang="en-IN" b="1" baseline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9413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C77204-743A-94AE-302D-839117D64E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D57DD1-5102-D67B-B94E-3EB951A2A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ssence of Problem State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E61C12-27C0-FABB-D0CC-6EE8C93017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1851" y="1922071"/>
            <a:ext cx="1508298" cy="993664"/>
          </a:xfrm>
          <a:prstGeom prst="rect">
            <a:avLst/>
          </a:prstGeom>
        </p:spPr>
      </p:pic>
      <mc:AlternateContent xmlns:mc="http://schemas.openxmlformats.org/markup-compatibility/2006" xmlns:am3d="http://schemas.microsoft.com/office/drawing/2017/model3d">
        <mc:Choice Requires="am3d">
          <p:graphicFrame>
            <p:nvGraphicFramePr>
              <p:cNvPr id="7" name="3D Model 6" descr="Red Question mark">
                <a:extLst>
                  <a:ext uri="{FF2B5EF4-FFF2-40B4-BE49-F238E27FC236}">
                    <a16:creationId xmlns:a16="http://schemas.microsoft.com/office/drawing/2014/main" id="{60D831A7-9212-7F36-1B87-53E1620A2553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5999361" y="1618524"/>
              <a:ext cx="193277" cy="313233"/>
            </p:xfrm>
            <a:graphic>
              <a:graphicData uri="http://schemas.microsoft.com/office/drawing/2017/model3d">
                <am3d:model3d r:embed="rId3">
                  <am3d:spPr>
                    <a:xfrm>
                      <a:off x="0" y="0"/>
                      <a:ext cx="193277" cy="313233"/>
                    </a:xfrm>
                    <a:prstGeom prst="rect">
                      <a:avLst/>
                    </a:prstGeom>
                  </am3d:spPr>
                  <am3d:camera>
                    <am3d:pos x="0" y="0" z="55389530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3517042" d="1000000"/>
                    <am3d:preTrans dx="0" dy="-18004113" dz="-4973"/>
                    <am3d:scale>
                      <am3d:sx n="1000000" d="1000000"/>
                      <am3d:sy n="1000000" d="1000000"/>
                      <am3d:sz n="1000000" d="1000000"/>
                    </am3d:scale>
                    <am3d:rot/>
                    <am3d:postTrans dx="0" dy="0" dz="0"/>
                  </am3d:trans>
                  <am3d:raster rName="Office3DRenderer" rVer="16.0.8326">
                    <am3d:blip r:embed="rId4"/>
                  </am3d:raster>
                  <am3d:objViewport viewportSz="389214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 xmlns="">
          <p:pic>
            <p:nvPicPr>
              <p:cNvPr id="7" name="3D Model 6" descr="Red Question mark">
                <a:extLst>
                  <a:ext uri="{FF2B5EF4-FFF2-40B4-BE49-F238E27FC236}">
                    <a16:creationId xmlns:a16="http://schemas.microsoft.com/office/drawing/2014/main" id="{60D831A7-9212-7F36-1B87-53E1620A255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999361" y="1618524"/>
                <a:ext cx="193277" cy="313233"/>
              </a:xfrm>
              <a:prstGeom prst="rect">
                <a:avLst/>
              </a:prstGeom>
            </p:spPr>
          </p:pic>
        </mc:Fallback>
      </mc:AlternateContent>
      <p:pic>
        <p:nvPicPr>
          <p:cNvPr id="10" name="Graphic 9" descr="Speech">
            <a:extLst>
              <a:ext uri="{FF2B5EF4-FFF2-40B4-BE49-F238E27FC236}">
                <a16:creationId xmlns:a16="http://schemas.microsoft.com/office/drawing/2014/main" id="{F62406E2-5C90-11FE-8F43-F016FDB201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31942" y="1651219"/>
            <a:ext cx="2473424" cy="673144"/>
          </a:xfrm>
          <a:prstGeom prst="rect">
            <a:avLst/>
          </a:prstGeom>
        </p:spPr>
      </p:pic>
      <p:pic>
        <p:nvPicPr>
          <p:cNvPr id="11" name="Graphic 10" descr="Speech">
            <a:extLst>
              <a:ext uri="{FF2B5EF4-FFF2-40B4-BE49-F238E27FC236}">
                <a16:creationId xmlns:a16="http://schemas.microsoft.com/office/drawing/2014/main" id="{64349652-C1F6-D496-EDDF-2EB744775C5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31821" y="1148430"/>
            <a:ext cx="2473424" cy="673144"/>
          </a:xfrm>
          <a:prstGeom prst="rect">
            <a:avLst/>
          </a:prstGeom>
          <a:scene3d>
            <a:camera prst="orthographicFront">
              <a:rot lat="0" lon="10800000" rev="0"/>
            </a:camera>
            <a:lightRig rig="threePt" dir="t"/>
          </a:scene3d>
        </p:spPr>
      </p:pic>
      <p:pic>
        <p:nvPicPr>
          <p:cNvPr id="15" name="Graphic 14" descr="Speech">
            <a:extLst>
              <a:ext uri="{FF2B5EF4-FFF2-40B4-BE49-F238E27FC236}">
                <a16:creationId xmlns:a16="http://schemas.microsoft.com/office/drawing/2014/main" id="{9F9659DD-35F0-F0A0-B303-77A7B98D31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31821" y="3885320"/>
            <a:ext cx="2473424" cy="673144"/>
          </a:xfrm>
          <a:prstGeom prst="rect">
            <a:avLst/>
          </a:prstGeom>
          <a:scene3d>
            <a:camera prst="orthographicFront">
              <a:rot lat="0" lon="10800000" rev="0"/>
            </a:camera>
            <a:lightRig rig="threePt" dir="t"/>
          </a:scene3d>
        </p:spPr>
      </p:pic>
      <p:pic>
        <p:nvPicPr>
          <p:cNvPr id="16" name="Graphic 15" descr="Speech">
            <a:extLst>
              <a:ext uri="{FF2B5EF4-FFF2-40B4-BE49-F238E27FC236}">
                <a16:creationId xmlns:a16="http://schemas.microsoft.com/office/drawing/2014/main" id="{6FD67E01-4903-57DA-40B3-69988286B82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31942" y="4388108"/>
            <a:ext cx="2473424" cy="67314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317079E0-502B-F3AA-3F6C-9ED806D63591}"/>
              </a:ext>
            </a:extLst>
          </p:cNvPr>
          <p:cNvSpPr/>
          <p:nvPr/>
        </p:nvSpPr>
        <p:spPr bwMode="auto">
          <a:xfrm>
            <a:off x="6941323" y="2241253"/>
            <a:ext cx="4176909" cy="483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en-IN" sz="1600" b="1" baseline="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Single </a:t>
            </a:r>
            <a:r>
              <a:rPr lang="en-IN" sz="1600" b="1" dirty="0">
                <a:solidFill>
                  <a:srgbClr val="FF0000"/>
                </a:solidFill>
                <a:latin typeface="+mn-lt"/>
              </a:rPr>
              <a:t>LLM</a:t>
            </a:r>
            <a:r>
              <a:rPr lang="en-IN" sz="1600" b="1" baseline="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IN" sz="1600" b="1" baseline="0" dirty="0">
                <a:latin typeface="+mn-lt"/>
                <a:ea typeface="+mn-ea"/>
                <a:cs typeface="+mn-cs"/>
              </a:rPr>
              <a:t>= Hallucination and low an</a:t>
            </a:r>
            <a:r>
              <a:rPr lang="en-IN" sz="1600" b="1" dirty="0">
                <a:latin typeface="+mn-lt"/>
              </a:rPr>
              <a:t>swer relevancy</a:t>
            </a:r>
            <a:endParaRPr lang="en-IN" sz="1600" b="1" baseline="0" dirty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0BB5482-A3E1-9917-67F2-ED76569A677A}"/>
              </a:ext>
            </a:extLst>
          </p:cNvPr>
          <p:cNvSpPr/>
          <p:nvPr/>
        </p:nvSpPr>
        <p:spPr bwMode="auto">
          <a:xfrm>
            <a:off x="6942242" y="3808749"/>
            <a:ext cx="4786031" cy="483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en-IN" sz="1600" b="1" dirty="0">
                <a:solidFill>
                  <a:srgbClr val="9BBA43"/>
                </a:solidFill>
                <a:latin typeface="+mn-lt"/>
              </a:rPr>
              <a:t>LLM Agent + structured Tools</a:t>
            </a:r>
            <a:r>
              <a:rPr lang="en-IN" sz="1600" b="1" dirty="0">
                <a:latin typeface="+mn-lt"/>
              </a:rPr>
              <a:t> = streamlined Process</a:t>
            </a:r>
            <a:endParaRPr lang="en-IN" sz="1600" b="1" baseline="0" dirty="0"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m3d="http://schemas.microsoft.com/office/drawing/2017/model3d">
        <mc:Choice Requires="am3d">
          <p:graphicFrame>
            <p:nvGraphicFramePr>
              <p:cNvPr id="21" name="3D Model 20" descr="Thinking Face Emoji">
                <a:extLst>
                  <a:ext uri="{FF2B5EF4-FFF2-40B4-BE49-F238E27FC236}">
                    <a16:creationId xmlns:a16="http://schemas.microsoft.com/office/drawing/2014/main" id="{D663DDE8-8E31-4E42-C5D7-3F07F7C36E5F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1506121" y="1690230"/>
              <a:ext cx="1182507" cy="1197914"/>
            </p:xfrm>
            <a:graphic>
              <a:graphicData uri="http://schemas.microsoft.com/office/drawing/2017/model3d">
                <am3d:model3d r:embed="rId12">
                  <am3d:spPr>
                    <a:xfrm>
                      <a:off x="0" y="0"/>
                      <a:ext cx="1182507" cy="1197914"/>
                    </a:xfrm>
                    <a:prstGeom prst="rect">
                      <a:avLst/>
                    </a:prstGeom>
                  </am3d:spPr>
                  <am3d:camera>
                    <am3d:pos x="0" y="0" z="78335969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89687" d="1000000"/>
                    <am3d:preTrans dx="3" dy="-16951004" dz="-1048983"/>
                    <am3d:scale>
                      <am3d:sx n="1000000" d="1000000"/>
                      <am3d:sy n="1000000" d="1000000"/>
                      <am3d:sz n="1000000" d="1000000"/>
                    </am3d:scale>
                    <am3d:rot/>
                    <am3d:postTrans dx="0" dy="0" dz="0"/>
                  </am3d:trans>
                  <am3d:raster rName="Office3DRenderer" rVer="16.0.8326">
                    <am3d:blip r:embed="rId13"/>
                  </am3d:raster>
                  <am3d:objViewport viewportSz="2191682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 xmlns="">
          <p:pic>
            <p:nvPicPr>
              <p:cNvPr id="21" name="3D Model 20" descr="Thinking Face Emoji">
                <a:extLst>
                  <a:ext uri="{FF2B5EF4-FFF2-40B4-BE49-F238E27FC236}">
                    <a16:creationId xmlns:a16="http://schemas.microsoft.com/office/drawing/2014/main" id="{D663DDE8-8E31-4E42-C5D7-3F07F7C36E5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506121" y="1690230"/>
                <a:ext cx="1182507" cy="119791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am3d="http://schemas.microsoft.com/office/drawing/2017/model3d">
        <mc:Choice Requires="am3d">
          <p:graphicFrame>
            <p:nvGraphicFramePr>
              <p:cNvPr id="23" name="3D Model 22" descr="Happy Face">
                <a:extLst>
                  <a:ext uri="{FF2B5EF4-FFF2-40B4-BE49-F238E27FC236}">
                    <a16:creationId xmlns:a16="http://schemas.microsoft.com/office/drawing/2014/main" id="{1C4E59CB-6067-8DB2-996A-F166D247880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1500746" y="4312878"/>
              <a:ext cx="1227275" cy="1242762"/>
            </p:xfrm>
            <a:graphic>
              <a:graphicData uri="http://schemas.microsoft.com/office/drawing/2017/model3d">
                <am3d:model3d r:embed="rId15">
                  <am3d:spPr>
                    <a:xfrm>
                      <a:off x="0" y="0"/>
                      <a:ext cx="1227275" cy="1242762"/>
                    </a:xfrm>
                    <a:prstGeom prst="rect">
                      <a:avLst/>
                    </a:prstGeom>
                  </am3d:spPr>
                  <am3d:camera>
                    <am3d:pos x="0" y="0" z="81154469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61035753" d="1000000"/>
                    <am3d:preTrans dx="285" dy="0" dz="997314"/>
                    <am3d:scale>
                      <am3d:sx n="1000000" d="1000000"/>
                      <am3d:sy n="1000000" d="1000000"/>
                      <am3d:sz n="1000000" d="1000000"/>
                    </am3d:scale>
                    <am3d:rot/>
                    <am3d:postTrans dx="0" dy="0" dz="0"/>
                  </am3d:trans>
                  <am3d:raster rName="Office3DRenderer" rVer="16.0.8326">
                    <am3d:blip r:embed="rId16"/>
                  </am3d:raster>
                  <am3d:objViewport viewportSz="2202901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 xmlns="">
          <p:pic>
            <p:nvPicPr>
              <p:cNvPr id="23" name="3D Model 22" descr="Happy Face">
                <a:extLst>
                  <a:ext uri="{FF2B5EF4-FFF2-40B4-BE49-F238E27FC236}">
                    <a16:creationId xmlns:a16="http://schemas.microsoft.com/office/drawing/2014/main" id="{1C4E59CB-6067-8DB2-996A-F166D247880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1500746" y="4312878"/>
                <a:ext cx="1227275" cy="1242762"/>
              </a:xfrm>
              <a:prstGeom prst="rect">
                <a:avLst/>
              </a:prstGeom>
            </p:spPr>
          </p:pic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C0D158CB-700B-74D6-BAC8-010276850A13}"/>
              </a:ext>
            </a:extLst>
          </p:cNvPr>
          <p:cNvPicPr>
            <a:picLocks noChangeAspect="1"/>
          </p:cNvPicPr>
          <p:nvPr/>
        </p:nvPicPr>
        <p:blipFill>
          <a:blip r:embed="rId18"/>
          <a:srcRect b="12935"/>
          <a:stretch>
            <a:fillRect/>
          </a:stretch>
        </p:blipFill>
        <p:spPr>
          <a:xfrm>
            <a:off x="5527182" y="3399464"/>
            <a:ext cx="1125338" cy="1056889"/>
          </a:xfrm>
          <a:prstGeom prst="rect">
            <a:avLst/>
          </a:prstGeom>
        </p:spPr>
      </p:pic>
      <p:sp>
        <p:nvSpPr>
          <p:cNvPr id="14" name="Plus Sign 13">
            <a:extLst>
              <a:ext uri="{FF2B5EF4-FFF2-40B4-BE49-F238E27FC236}">
                <a16:creationId xmlns:a16="http://schemas.microsoft.com/office/drawing/2014/main" id="{6F5FDEF0-2F26-1B25-FC5B-CEACB8AC98AC}"/>
              </a:ext>
            </a:extLst>
          </p:cNvPr>
          <p:cNvSpPr/>
          <p:nvPr/>
        </p:nvSpPr>
        <p:spPr bwMode="auto">
          <a:xfrm>
            <a:off x="5807968" y="4558464"/>
            <a:ext cx="504056" cy="410332"/>
          </a:xfrm>
          <a:prstGeom prst="mathPlus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50" name="Picture 2" descr="Robot - Free technology icons">
            <a:extLst>
              <a:ext uri="{FF2B5EF4-FFF2-40B4-BE49-F238E27FC236}">
                <a16:creationId xmlns:a16="http://schemas.microsoft.com/office/drawing/2014/main" id="{DEB2E1B3-0F90-EBCE-8C22-447CB0BEC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775" y="4934259"/>
            <a:ext cx="790153" cy="790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Robot - Free technology icons">
            <a:extLst>
              <a:ext uri="{FF2B5EF4-FFF2-40B4-BE49-F238E27FC236}">
                <a16:creationId xmlns:a16="http://schemas.microsoft.com/office/drawing/2014/main" id="{774CA60B-13C4-6369-0491-0A717729A2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3072" y="4934259"/>
            <a:ext cx="790154" cy="790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Speech Bubble: Rectangle 23">
            <a:extLst>
              <a:ext uri="{FF2B5EF4-FFF2-40B4-BE49-F238E27FC236}">
                <a16:creationId xmlns:a16="http://schemas.microsoft.com/office/drawing/2014/main" id="{3B894D8A-2F26-10D9-2866-39BE8058D506}"/>
              </a:ext>
            </a:extLst>
          </p:cNvPr>
          <p:cNvSpPr/>
          <p:nvPr/>
        </p:nvSpPr>
        <p:spPr bwMode="auto">
          <a:xfrm>
            <a:off x="2677522" y="5931435"/>
            <a:ext cx="2664329" cy="351196"/>
          </a:xfrm>
          <a:prstGeom prst="wedgeRectCallout">
            <a:avLst>
              <a:gd name="adj1" fmla="val 41655"/>
              <a:gd name="adj2" fmla="val -133918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1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 will </a:t>
            </a:r>
            <a:r>
              <a:rPr lang="en-IN" sz="1100" dirty="0">
                <a:solidFill>
                  <a:schemeClr val="bg1"/>
                </a:solidFill>
                <a:latin typeface="+mn-lt"/>
              </a:rPr>
              <a:t>r</a:t>
            </a:r>
            <a:r>
              <a:rPr lang="en-IN" sz="11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trieve the data</a:t>
            </a:r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79C20758-37AC-0623-774D-F533834A033C}"/>
              </a:ext>
            </a:extLst>
          </p:cNvPr>
          <p:cNvSpPr/>
          <p:nvPr/>
        </p:nvSpPr>
        <p:spPr bwMode="auto">
          <a:xfrm>
            <a:off x="5505366" y="5924608"/>
            <a:ext cx="2246817" cy="351196"/>
          </a:xfrm>
          <a:prstGeom prst="wedgeRectCallout">
            <a:avLst>
              <a:gd name="adj1" fmla="val 2811"/>
              <a:gd name="adj2" fmla="val -120039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1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 will generate response based on logic applie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DBB8BB-7BBE-4BD6-A4A9-49D45575D506}"/>
              </a:ext>
            </a:extLst>
          </p:cNvPr>
          <p:cNvSpPr/>
          <p:nvPr/>
        </p:nvSpPr>
        <p:spPr bwMode="auto">
          <a:xfrm>
            <a:off x="6678646" y="428764"/>
            <a:ext cx="3986397" cy="134153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F2100F-3E95-4143-99C1-DEB4DD75414F}"/>
              </a:ext>
            </a:extLst>
          </p:cNvPr>
          <p:cNvSpPr txBox="1"/>
          <p:nvPr/>
        </p:nvSpPr>
        <p:spPr bwMode="auto">
          <a:xfrm>
            <a:off x="7320136" y="511192"/>
            <a:ext cx="2198179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800" kern="0" baseline="0" dirty="0">
                <a:latin typeface="+mn-lt"/>
                <a:ea typeface="+mn-ea"/>
                <a:cs typeface="+mn-cs"/>
              </a:rPr>
              <a:t>Task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C25BDB-43B4-4CAC-8ECC-29660E202D76}"/>
              </a:ext>
            </a:extLst>
          </p:cNvPr>
          <p:cNvSpPr txBox="1"/>
          <p:nvPr/>
        </p:nvSpPr>
        <p:spPr bwMode="auto">
          <a:xfrm>
            <a:off x="6850148" y="1052736"/>
            <a:ext cx="3835729" cy="866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en-IN" sz="1200" kern="0" baseline="0" dirty="0">
                <a:latin typeface="+mn-lt"/>
                <a:ea typeface="+mn-ea"/>
                <a:cs typeface="+mn-cs"/>
              </a:rPr>
              <a:t>Retrieve relevant data from database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en-IN" sz="1200" kern="0" dirty="0">
                <a:latin typeface="+mn-lt"/>
              </a:rPr>
              <a:t>Process the data and find relevant answers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en-IN" sz="1200" kern="0" baseline="0" dirty="0">
                <a:latin typeface="+mn-lt"/>
                <a:ea typeface="+mn-ea"/>
                <a:cs typeface="+mn-cs"/>
              </a:rPr>
              <a:t>Format</a:t>
            </a:r>
            <a:r>
              <a:rPr lang="en-IN" sz="1200" kern="0" dirty="0">
                <a:latin typeface="+mn-lt"/>
              </a:rPr>
              <a:t> the resulted answer</a:t>
            </a:r>
            <a:endParaRPr lang="en-IN" sz="1200" kern="0" baseline="0" dirty="0">
              <a:latin typeface="+mn-lt"/>
              <a:ea typeface="+mn-ea"/>
              <a:cs typeface="+mn-cs"/>
            </a:endParaRP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endParaRPr lang="en-IN" sz="12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27" name="Picture 2" descr="Robot - Free technology icons">
            <a:extLst>
              <a:ext uri="{FF2B5EF4-FFF2-40B4-BE49-F238E27FC236}">
                <a16:creationId xmlns:a16="http://schemas.microsoft.com/office/drawing/2014/main" id="{CF709B9C-FF42-4639-9B7B-EAB2609C72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340" y="4934258"/>
            <a:ext cx="790153" cy="790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Speech Bubble: Rectangle 28">
            <a:extLst>
              <a:ext uri="{FF2B5EF4-FFF2-40B4-BE49-F238E27FC236}">
                <a16:creationId xmlns:a16="http://schemas.microsoft.com/office/drawing/2014/main" id="{4ADAF002-0C5A-4D23-9A0D-E4BEE8644A58}"/>
              </a:ext>
            </a:extLst>
          </p:cNvPr>
          <p:cNvSpPr/>
          <p:nvPr/>
        </p:nvSpPr>
        <p:spPr bwMode="auto">
          <a:xfrm>
            <a:off x="7833200" y="5931435"/>
            <a:ext cx="2246817" cy="351196"/>
          </a:xfrm>
          <a:prstGeom prst="wedgeRectCallout">
            <a:avLst>
              <a:gd name="adj1" fmla="val -39973"/>
              <a:gd name="adj2" fmla="val -148969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1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 will format the results</a:t>
            </a:r>
          </a:p>
        </p:txBody>
      </p:sp>
    </p:spTree>
    <p:extLst>
      <p:ext uri="{BB962C8B-B14F-4D97-AF65-F5344CB8AC3E}">
        <p14:creationId xmlns:p14="http://schemas.microsoft.com/office/powerpoint/2010/main" val="282401588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E85BA-5917-4B00-B83B-879402B38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Getting started with NLP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A51A100-6D93-4616-9E3D-D440A3352866}"/>
              </a:ext>
            </a:extLst>
          </p:cNvPr>
          <p:cNvSpPr txBox="1"/>
          <p:nvPr/>
        </p:nvSpPr>
        <p:spPr>
          <a:xfrm>
            <a:off x="1655632" y="1559105"/>
            <a:ext cx="9675802" cy="520902"/>
          </a:xfrm>
          <a:prstGeom prst="rect">
            <a:avLst/>
          </a:prstGeom>
          <a:solidFill>
            <a:srgbClr val="0A827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marL="0" marR="0" lvl="0" indent="0" algn="l" defTabSz="711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spaCy</a:t>
            </a:r>
            <a:r>
              <a:rPr kumimoji="0" lang="en-IN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 - P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rovides pretrained models, include tokenization, part-of-speech tagging, named entity recognition.</a:t>
            </a:r>
            <a:r>
              <a:rPr kumimoji="0" lang="en-IN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6" name="Rectangle: Rounded Corners 4">
            <a:extLst>
              <a:ext uri="{FF2B5EF4-FFF2-40B4-BE49-F238E27FC236}">
                <a16:creationId xmlns:a16="http://schemas.microsoft.com/office/drawing/2014/main" id="{A4EBC3A6-8D77-4004-B7A1-50BB3C668028}"/>
              </a:ext>
            </a:extLst>
          </p:cNvPr>
          <p:cNvSpPr txBox="1"/>
          <p:nvPr/>
        </p:nvSpPr>
        <p:spPr>
          <a:xfrm>
            <a:off x="1640227" y="2230269"/>
            <a:ext cx="9682685" cy="487278"/>
          </a:xfrm>
          <a:prstGeom prst="rect">
            <a:avLst/>
          </a:prstGeom>
          <a:solidFill>
            <a:schemeClr val="accent6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4770" tIns="64770" rIns="64770" bIns="64770" numCol="1" spcCol="1270" anchor="ctr" anchorCtr="0">
            <a:noAutofit/>
          </a:bodyPr>
          <a:lstStyle/>
          <a:p>
            <a:pPr lvl="0" defTabSz="755650">
              <a:lnSpc>
                <a:spcPct val="90000"/>
              </a:lnSpc>
              <a:spcAft>
                <a:spcPct val="35000"/>
              </a:spcAft>
              <a:defRPr/>
            </a:pPr>
            <a:r>
              <a:rPr kumimoji="0" lang="en-GB" sz="1500" b="1" i="0" u="sng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LangGrapg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 - </a:t>
            </a:r>
            <a:r>
              <a:rPr lang="en-US" sz="1600" dirty="0"/>
              <a:t>an open-source library used to build stateful, multi-actor applications with large language models (LLMs) by representing the application logic as a graph</a:t>
            </a:r>
            <a:r>
              <a:rPr lang="en-US" dirty="0"/>
              <a:t>.</a:t>
            </a:r>
            <a:endParaRPr kumimoji="0" lang="en-IN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7" name="Rectangle: Rounded Corners 4">
            <a:extLst>
              <a:ext uri="{FF2B5EF4-FFF2-40B4-BE49-F238E27FC236}">
                <a16:creationId xmlns:a16="http://schemas.microsoft.com/office/drawing/2014/main" id="{7FED4E75-4845-45EC-9521-FB651703CCAA}"/>
              </a:ext>
            </a:extLst>
          </p:cNvPr>
          <p:cNvSpPr txBox="1"/>
          <p:nvPr/>
        </p:nvSpPr>
        <p:spPr>
          <a:xfrm>
            <a:off x="1612387" y="2880916"/>
            <a:ext cx="9678392" cy="487280"/>
          </a:xfrm>
          <a:prstGeom prst="rect">
            <a:avLst/>
          </a:prstGeom>
          <a:solidFill>
            <a:srgbClr val="FCD44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72390" rIns="72390" bIns="72390" numCol="1" spcCol="1270" anchor="ctr" anchorCtr="0">
            <a:noAutofit/>
          </a:bodyPr>
          <a:lstStyle/>
          <a:p>
            <a:pPr marL="0" marR="0" lvl="0" indent="0" algn="l" defTabSz="8445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Genism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 - library for topic modelling and document similarity analysis.</a:t>
            </a:r>
            <a:endParaRPr kumimoji="0" lang="en-IN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9722C7E9-B9FA-45B9-AC52-1E3BC725DC7D}"/>
              </a:ext>
            </a:extLst>
          </p:cNvPr>
          <p:cNvSpPr txBox="1"/>
          <p:nvPr/>
        </p:nvSpPr>
        <p:spPr>
          <a:xfrm>
            <a:off x="1617591" y="4123416"/>
            <a:ext cx="9647845" cy="487279"/>
          </a:xfrm>
          <a:prstGeom prst="rect">
            <a:avLst/>
          </a:prstGeom>
          <a:solidFill>
            <a:srgbClr val="F97414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57150" rIns="57150" bIns="57150" numCol="1" spcCol="1270" anchor="ctr" anchorCtr="0">
            <a:noAutofit/>
          </a:bodyPr>
          <a:lstStyle/>
          <a:p>
            <a:pPr lvl="0" defTabSz="666750">
              <a:lnSpc>
                <a:spcPct val="90000"/>
              </a:lnSpc>
              <a:spcAft>
                <a:spcPct val="35000"/>
              </a:spcAft>
              <a:defRPr/>
            </a:pPr>
            <a:r>
              <a:rPr kumimoji="0" lang="en-IN" sz="1500" b="1" i="0" u="sng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Pydantic</a:t>
            </a:r>
            <a:r>
              <a:rPr kumimoji="0" lang="en-IN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 - </a:t>
            </a:r>
            <a:r>
              <a:rPr lang="en-US" sz="1600" dirty="0"/>
              <a:t>a Python library used for data validation, serialization, and settings management</a:t>
            </a:r>
            <a:r>
              <a:rPr lang="en-US" dirty="0"/>
              <a:t>.</a:t>
            </a:r>
            <a:endParaRPr kumimoji="0" lang="en-IN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885A78EC-B8F2-411F-9789-ED8A97010E40}"/>
              </a:ext>
            </a:extLst>
          </p:cNvPr>
          <p:cNvSpPr txBox="1"/>
          <p:nvPr/>
        </p:nvSpPr>
        <p:spPr>
          <a:xfrm>
            <a:off x="1575062" y="4779625"/>
            <a:ext cx="9648442" cy="487279"/>
          </a:xfrm>
          <a:prstGeom prst="rect">
            <a:avLst/>
          </a:prstGeom>
          <a:solidFill>
            <a:srgbClr val="BE328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57150" rIns="57150" bIns="57150" numCol="1" spcCol="1270" anchor="ctr" anchorCtr="0">
            <a:noAutofit/>
          </a:bodyPr>
          <a:lstStyle/>
          <a:p>
            <a:pPr marL="0" marR="0" lvl="0" indent="0" algn="l" defTabSz="6667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Langchain</a:t>
            </a:r>
            <a:r>
              <a:rPr kumimoji="0" lang="en-IN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 -</a:t>
            </a:r>
            <a:r>
              <a:rPr kumimoji="0" lang="en-IN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 Built for LLMs and can be used for GQA, summarization and much more.</a:t>
            </a:r>
          </a:p>
        </p:txBody>
      </p:sp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C78F0C08-AE61-48E3-AE15-45A7573EBFD5}"/>
              </a:ext>
            </a:extLst>
          </p:cNvPr>
          <p:cNvSpPr txBox="1"/>
          <p:nvPr/>
        </p:nvSpPr>
        <p:spPr>
          <a:xfrm>
            <a:off x="1617591" y="3499763"/>
            <a:ext cx="9646947" cy="487278"/>
          </a:xfrm>
          <a:prstGeom prst="rect">
            <a:avLst/>
          </a:prstGeom>
          <a:solidFill>
            <a:srgbClr val="6CB4AD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57150" rIns="57150" bIns="57150" numCol="1" spcCol="1270" anchor="ctr" anchorCtr="0">
            <a:noAutofit/>
          </a:bodyPr>
          <a:lstStyle/>
          <a:p>
            <a:pPr marL="0" marR="0" lvl="0" indent="0" algn="l" defTabSz="6667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LlamaIndex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 - Used for Data Ingestion, Data Indexing, Query Interface.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FFCFFA-0661-471E-8241-7992BCA74E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879" y="1534699"/>
            <a:ext cx="865718" cy="34453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52DF38D-BB38-46B5-8053-7A59D73BA6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127" y="2918502"/>
            <a:ext cx="870317" cy="34453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03FBE6C-A9C1-4B1D-85C0-9D9E1AB540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5010" y="3548865"/>
            <a:ext cx="1049064" cy="36758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B0FB425-B6CB-40A6-9A66-1E81F9E5FD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6940" y="4779625"/>
            <a:ext cx="1093861" cy="36861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F974FA9-27EC-4E31-913D-BC79EF5769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1412" y="5461889"/>
            <a:ext cx="1076257" cy="36861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8" name="Rectangle: Rounded Corners 4">
            <a:extLst>
              <a:ext uri="{FF2B5EF4-FFF2-40B4-BE49-F238E27FC236}">
                <a16:creationId xmlns:a16="http://schemas.microsoft.com/office/drawing/2014/main" id="{A4A60242-284A-4948-B5E0-A397CCFE0E22}"/>
              </a:ext>
            </a:extLst>
          </p:cNvPr>
          <p:cNvSpPr txBox="1"/>
          <p:nvPr/>
        </p:nvSpPr>
        <p:spPr>
          <a:xfrm>
            <a:off x="1575062" y="5373564"/>
            <a:ext cx="9648442" cy="487279"/>
          </a:xfrm>
          <a:prstGeom prst="rect">
            <a:avLst/>
          </a:prstGeom>
          <a:solidFill>
            <a:srgbClr val="8D878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57150" rIns="57150" bIns="57150" numCol="1" spcCol="1270" anchor="ctr" anchorCtr="0">
            <a:noAutofit/>
          </a:bodyPr>
          <a:lstStyle/>
          <a:p>
            <a:pPr lvl="0" defTabSz="66675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600" b="1" u="sng" dirty="0">
                <a:solidFill>
                  <a:srgbClr val="FFFFFF"/>
                </a:solidFill>
                <a:cs typeface="Calibri" panose="020F0502020204030204" pitchFamily="34" charset="0"/>
              </a:rPr>
              <a:t>Transformers</a:t>
            </a:r>
            <a:r>
              <a:rPr lang="en-GB" sz="1600" b="1" dirty="0">
                <a:solidFill>
                  <a:srgbClr val="FFFFFF"/>
                </a:solidFill>
                <a:cs typeface="Calibri" panose="020F0502020204030204" pitchFamily="34" charset="0"/>
              </a:rPr>
              <a:t> (Hugging Face Transformers) </a:t>
            </a:r>
            <a:r>
              <a:rPr lang="en-GB" sz="1600" dirty="0">
                <a:solidFill>
                  <a:srgbClr val="FFFFFF"/>
                </a:solidFill>
                <a:cs typeface="Calibri" panose="020F0502020204030204" pitchFamily="34" charset="0"/>
              </a:rPr>
              <a:t>- state-of-the-art deep learning models, provides a wide pretrained models for text classification, language generation etc.</a:t>
            </a:r>
            <a:endParaRPr lang="en-IN" sz="1600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pic>
        <p:nvPicPr>
          <p:cNvPr id="2050" name="Picture 2" descr="Multi-Agent Chatbot with LangGraph | by ...">
            <a:extLst>
              <a:ext uri="{FF2B5EF4-FFF2-40B4-BE49-F238E27FC236}">
                <a16:creationId xmlns:a16="http://schemas.microsoft.com/office/drawing/2014/main" id="{489B26E6-BE77-4C92-859C-0F3794D95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940" y="2173398"/>
            <a:ext cx="1210816" cy="487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The Essential Guide to Pydantic: Data Validation Made Easy | by Huda Saleh  | Level Up Coding">
            <a:extLst>
              <a:ext uri="{FF2B5EF4-FFF2-40B4-BE49-F238E27FC236}">
                <a16:creationId xmlns:a16="http://schemas.microsoft.com/office/drawing/2014/main" id="{7633E4D5-CFA5-4924-A99E-BBD35E87E6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501" y="4139024"/>
            <a:ext cx="1284738" cy="432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109232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DBD4E-6BDA-4C54-9216-B37057FB5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genda</a:t>
            </a:r>
          </a:p>
        </p:txBody>
      </p:sp>
      <p:sp>
        <p:nvSpPr>
          <p:cNvPr id="27" name="MIO_AGENDA_ELEMENT_TITEL_4">
            <a:hlinkClick r:id="" action="ppaction://noaction"/>
            <a:extLst>
              <a:ext uri="{FF2B5EF4-FFF2-40B4-BE49-F238E27FC236}">
                <a16:creationId xmlns:a16="http://schemas.microsoft.com/office/drawing/2014/main" id="{5F7EE3AB-0A83-4648-A26A-22CC76D546A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1241679" y="3212655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j-lt"/>
                <a:cs typeface="Calibri" panose="020F0502020204030204" pitchFamily="34" charset="0"/>
              </a:rPr>
              <a:t>NLP (Natural Language Processing)</a:t>
            </a:r>
          </a:p>
        </p:txBody>
      </p:sp>
      <p:sp>
        <p:nvSpPr>
          <p:cNvPr id="28" name="MIO_AGENDA_ELEMENT_TITEL_3">
            <a:hlinkClick r:id="" action="ppaction://noaction"/>
            <a:extLst>
              <a:ext uri="{FF2B5EF4-FFF2-40B4-BE49-F238E27FC236}">
                <a16:creationId xmlns:a16="http://schemas.microsoft.com/office/drawing/2014/main" id="{C5EDBFCD-C3A1-4E98-8496-82EECAE6FE2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241678" y="256655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j-lt"/>
                <a:cs typeface="Calibri" panose="020F0502020204030204" pitchFamily="34" charset="0"/>
              </a:rPr>
              <a:t>What is AI/ML/DL ?</a:t>
            </a:r>
          </a:p>
        </p:txBody>
      </p:sp>
      <p:sp>
        <p:nvSpPr>
          <p:cNvPr id="29" name="MIO_AGENDA_ELEMENT_TITEL_1">
            <a:hlinkClick r:id="" action="ppaction://noaction"/>
            <a:extLst>
              <a:ext uri="{FF2B5EF4-FFF2-40B4-BE49-F238E27FC236}">
                <a16:creationId xmlns:a16="http://schemas.microsoft.com/office/drawing/2014/main" id="{AFCAEBBB-21F5-4E7A-B2FF-33FEC0318CC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1235074" y="126841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j-lt"/>
                <a:cs typeface="Calibri" panose="020F0502020204030204" pitchFamily="34" charset="0"/>
              </a:rPr>
              <a:t>Introduction</a:t>
            </a:r>
          </a:p>
        </p:txBody>
      </p:sp>
      <p:sp>
        <p:nvSpPr>
          <p:cNvPr id="30" name="MIO_AGENDA_ELEMENT_TITEL_2">
            <a:hlinkClick r:id="" action="ppaction://noaction"/>
            <a:extLst>
              <a:ext uri="{FF2B5EF4-FFF2-40B4-BE49-F238E27FC236}">
                <a16:creationId xmlns:a16="http://schemas.microsoft.com/office/drawing/2014/main" id="{0517FAAD-E521-41E5-A920-2B7BA63A921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235075" y="191649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j-lt"/>
                <a:cs typeface="Calibri" panose="020F0502020204030204" pitchFamily="34" charset="0"/>
              </a:rPr>
              <a:t>What do we do @ Infineon ?</a:t>
            </a:r>
          </a:p>
        </p:txBody>
      </p:sp>
      <p:sp>
        <p:nvSpPr>
          <p:cNvPr id="31" name="MIO_AGENDA_ELEMENT_ELEMENTNUMBER_3">
            <a:hlinkClick r:id="" action="ppaction://noaction"/>
            <a:extLst>
              <a:ext uri="{FF2B5EF4-FFF2-40B4-BE49-F238E27FC236}">
                <a16:creationId xmlns:a16="http://schemas.microsoft.com/office/drawing/2014/main" id="{416C2E09-3F65-4DE1-9E70-B438F5D5008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34433" y="2564574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2" name="MIO_AGENDA_ELEMENT_ELEMENTNUMBER_4">
            <a:hlinkClick r:id="" action="ppaction://noaction"/>
            <a:extLst>
              <a:ext uri="{FF2B5EF4-FFF2-40B4-BE49-F238E27FC236}">
                <a16:creationId xmlns:a16="http://schemas.microsoft.com/office/drawing/2014/main" id="{7F08F1CC-69CF-401B-A20B-FFE24BE3CE2E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34433" y="3212655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4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9D5F54F9-CF45-495E-95FF-58411168B182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334433" y="191649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5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B81BB8D1-C42D-4126-8291-252C758E66F3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335360" y="126841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6" name="MIO_AGENDA_ELEMENT_TITEL_5">
            <a:hlinkClick r:id="" action="ppaction://noaction"/>
            <a:extLst>
              <a:ext uri="{FF2B5EF4-FFF2-40B4-BE49-F238E27FC236}">
                <a16:creationId xmlns:a16="http://schemas.microsoft.com/office/drawing/2014/main" id="{7FAB6CE2-DD0D-48D0-82C0-AA7CC07B53B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1235075" y="3860736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latin typeface="+mj-lt"/>
                <a:cs typeface="Calibri" panose="020F0502020204030204" pitchFamily="34" charset="0"/>
              </a:rPr>
              <a:t>Generative AI &amp; LLM’s</a:t>
            </a:r>
          </a:p>
        </p:txBody>
      </p:sp>
      <p:sp>
        <p:nvSpPr>
          <p:cNvPr id="37" name="MIO_AGENDA_ELEMENT_ELEMENTNUMBER_5">
            <a:hlinkClick r:id="" action="ppaction://noaction"/>
            <a:extLst>
              <a:ext uri="{FF2B5EF4-FFF2-40B4-BE49-F238E27FC236}">
                <a16:creationId xmlns:a16="http://schemas.microsoft.com/office/drawing/2014/main" id="{CE77E5AB-3A7F-4455-8BF0-F8EA0126F171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334433" y="3860736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5</a:t>
            </a:r>
            <a:endParaRPr lang="en-US" sz="20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38" name="MIO_AGENDA_ELEMENT_TITEL_6">
            <a:hlinkClick r:id="" action="ppaction://noaction"/>
            <a:extLst>
              <a:ext uri="{FF2B5EF4-FFF2-40B4-BE49-F238E27FC236}">
                <a16:creationId xmlns:a16="http://schemas.microsoft.com/office/drawing/2014/main" id="{7CEBD169-3EFB-42F2-B856-3BED5F09E60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1235075" y="4508817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1800" dirty="0"/>
              <a:t>From LLM’s to Agentic Systems</a:t>
            </a:r>
            <a:endParaRPr lang="en-US" sz="1800" dirty="0">
              <a:cs typeface="Calibri" panose="020F0502020204030204" pitchFamily="34" charset="0"/>
            </a:endParaRPr>
          </a:p>
        </p:txBody>
      </p:sp>
      <p:sp>
        <p:nvSpPr>
          <p:cNvPr id="39" name="MIO_AGENDA_ELEMENT_ELEMENTNUMBER_6">
            <a:hlinkClick r:id="" action="ppaction://noaction"/>
            <a:extLst>
              <a:ext uri="{FF2B5EF4-FFF2-40B4-BE49-F238E27FC236}">
                <a16:creationId xmlns:a16="http://schemas.microsoft.com/office/drawing/2014/main" id="{06FB1344-D58E-4AA7-B6D4-323DEDF397EB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334433" y="4508817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40" name="MIO_AGENDA_ELEMENT_TITEL_7">
            <a:hlinkClick r:id="" action="ppaction://noaction"/>
            <a:extLst>
              <a:ext uri="{FF2B5EF4-FFF2-40B4-BE49-F238E27FC236}">
                <a16:creationId xmlns:a16="http://schemas.microsoft.com/office/drawing/2014/main" id="{6EC1C474-5C66-46AA-B48D-B95355612F68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1235075" y="5156898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b="1" dirty="0">
                <a:latin typeface="+mj-lt"/>
                <a:cs typeface="Calibri" panose="020F0502020204030204" pitchFamily="34" charset="0"/>
              </a:rPr>
              <a:t>References &amp; Glossary</a:t>
            </a:r>
          </a:p>
        </p:txBody>
      </p:sp>
      <p:sp>
        <p:nvSpPr>
          <p:cNvPr id="41" name="MIO_AGENDA_ELEMENT_ELEMENTNUMBER_7">
            <a:hlinkClick r:id="" action="ppaction://noaction"/>
            <a:extLst>
              <a:ext uri="{FF2B5EF4-FFF2-40B4-BE49-F238E27FC236}">
                <a16:creationId xmlns:a16="http://schemas.microsoft.com/office/drawing/2014/main" id="{36BB4503-4CFC-444E-BD86-0E2BFCBB440D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334433" y="5156898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7</a:t>
            </a:r>
            <a:endParaRPr lang="en-US" sz="20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615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DBD4E-6BDA-4C54-9216-B37057FB5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Agenda</a:t>
            </a:r>
          </a:p>
        </p:txBody>
      </p:sp>
      <p:sp>
        <p:nvSpPr>
          <p:cNvPr id="27" name="MIO_AGENDA_ELEMENT_TITEL_4">
            <a:hlinkClick r:id="" action="ppaction://noaction"/>
            <a:extLst>
              <a:ext uri="{FF2B5EF4-FFF2-40B4-BE49-F238E27FC236}">
                <a16:creationId xmlns:a16="http://schemas.microsoft.com/office/drawing/2014/main" id="{5F7EE3AB-0A83-4648-A26A-22CC76D546A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1241679" y="3212655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The Magic of Words: Exploring NLP</a:t>
            </a:r>
          </a:p>
        </p:txBody>
      </p:sp>
      <p:sp>
        <p:nvSpPr>
          <p:cNvPr id="28" name="MIO_AGENDA_ELEMENT_TITEL_3">
            <a:hlinkClick r:id="" action="ppaction://noaction"/>
            <a:extLst>
              <a:ext uri="{FF2B5EF4-FFF2-40B4-BE49-F238E27FC236}">
                <a16:creationId xmlns:a16="http://schemas.microsoft.com/office/drawing/2014/main" id="{C5EDBFCD-C3A1-4E98-8496-82EECAE6FE2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241678" y="256655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/>
              <a:t>Understanding AI, ML, and DL</a:t>
            </a:r>
            <a:endParaRPr lang="en-US" sz="32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9" name="MIO_AGENDA_ELEMENT_TITEL_1">
            <a:hlinkClick r:id="" action="ppaction://noaction"/>
            <a:extLst>
              <a:ext uri="{FF2B5EF4-FFF2-40B4-BE49-F238E27FC236}">
                <a16:creationId xmlns:a16="http://schemas.microsoft.com/office/drawing/2014/main" id="{AFCAEBBB-21F5-4E7A-B2FF-33FEC0318CC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1235074" y="126841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Introduction</a:t>
            </a:r>
          </a:p>
        </p:txBody>
      </p:sp>
      <p:sp>
        <p:nvSpPr>
          <p:cNvPr id="30" name="MIO_AGENDA_ELEMENT_TITEL_2">
            <a:hlinkClick r:id="" action="ppaction://noaction"/>
            <a:extLst>
              <a:ext uri="{FF2B5EF4-FFF2-40B4-BE49-F238E27FC236}">
                <a16:creationId xmlns:a16="http://schemas.microsoft.com/office/drawing/2014/main" id="{0517FAAD-E521-41E5-A920-2B7BA63A921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235075" y="191649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cs typeface="Calibri" panose="020F0502020204030204" pitchFamily="34" charset="0"/>
              </a:rPr>
              <a:t>Our Diverse Expertise in AI at Infineon</a:t>
            </a:r>
          </a:p>
        </p:txBody>
      </p:sp>
      <p:sp>
        <p:nvSpPr>
          <p:cNvPr id="31" name="MIO_AGENDA_ELEMENT_ELEMENTNUMBER_3">
            <a:hlinkClick r:id="" action="ppaction://noaction"/>
            <a:extLst>
              <a:ext uri="{FF2B5EF4-FFF2-40B4-BE49-F238E27FC236}">
                <a16:creationId xmlns:a16="http://schemas.microsoft.com/office/drawing/2014/main" id="{416C2E09-3F65-4DE1-9E70-B438F5D5008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34433" y="2564574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2" name="MIO_AGENDA_ELEMENT_ELEMENTNUMBER_4">
            <a:hlinkClick r:id="" action="ppaction://noaction"/>
            <a:extLst>
              <a:ext uri="{FF2B5EF4-FFF2-40B4-BE49-F238E27FC236}">
                <a16:creationId xmlns:a16="http://schemas.microsoft.com/office/drawing/2014/main" id="{7F08F1CC-69CF-401B-A20B-FFE24BE3CE2E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34433" y="3212655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4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9D5F54F9-CF45-495E-95FF-58411168B182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334433" y="191649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5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B81BB8D1-C42D-4126-8291-252C758E66F3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335360" y="126841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6" name="MIO_AGENDA_ELEMENT_TITEL_5">
            <a:hlinkClick r:id="" action="ppaction://noaction"/>
            <a:extLst>
              <a:ext uri="{FF2B5EF4-FFF2-40B4-BE49-F238E27FC236}">
                <a16:creationId xmlns:a16="http://schemas.microsoft.com/office/drawing/2014/main" id="{7FAB6CE2-DD0D-48D0-82C0-AA7CC07B53B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1235075" y="3860736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Generative AI &amp; LLM’s</a:t>
            </a:r>
          </a:p>
        </p:txBody>
      </p:sp>
      <p:sp>
        <p:nvSpPr>
          <p:cNvPr id="37" name="MIO_AGENDA_ELEMENT_ELEMENTNUMBER_5">
            <a:hlinkClick r:id="" action="ppaction://noaction"/>
            <a:extLst>
              <a:ext uri="{FF2B5EF4-FFF2-40B4-BE49-F238E27FC236}">
                <a16:creationId xmlns:a16="http://schemas.microsoft.com/office/drawing/2014/main" id="{CE77E5AB-3A7F-4455-8BF0-F8EA0126F171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334433" y="3860736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5</a:t>
            </a:r>
            <a:endParaRPr lang="en-US" sz="20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8" name="MIO_AGENDA_ELEMENT_TITEL_6">
            <a:hlinkClick r:id="" action="ppaction://noaction"/>
            <a:extLst>
              <a:ext uri="{FF2B5EF4-FFF2-40B4-BE49-F238E27FC236}">
                <a16:creationId xmlns:a16="http://schemas.microsoft.com/office/drawing/2014/main" id="{7CEBD169-3EFB-42F2-B856-3BED5F09E60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1235075" y="4508817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/>
              <a:t>From LLM’s to Agentic Systems</a:t>
            </a:r>
            <a:endParaRPr lang="en-US" sz="2000" dirty="0">
              <a:cs typeface="Calibri" panose="020F0502020204030204" pitchFamily="34" charset="0"/>
            </a:endParaRPr>
          </a:p>
        </p:txBody>
      </p:sp>
      <p:sp>
        <p:nvSpPr>
          <p:cNvPr id="39" name="MIO_AGENDA_ELEMENT_ELEMENTNUMBER_6">
            <a:hlinkClick r:id="" action="ppaction://noaction"/>
            <a:extLst>
              <a:ext uri="{FF2B5EF4-FFF2-40B4-BE49-F238E27FC236}">
                <a16:creationId xmlns:a16="http://schemas.microsoft.com/office/drawing/2014/main" id="{06FB1344-D58E-4AA7-B6D4-323DEDF397EB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334433" y="4508817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40" name="MIO_AGENDA_ELEMENT_TITEL_7">
            <a:hlinkClick r:id="" action="ppaction://noaction"/>
            <a:extLst>
              <a:ext uri="{FF2B5EF4-FFF2-40B4-BE49-F238E27FC236}">
                <a16:creationId xmlns:a16="http://schemas.microsoft.com/office/drawing/2014/main" id="{6EC1C474-5C66-46AA-B48D-B95355612F68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1235075" y="5156898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References &amp; Glossary</a:t>
            </a:r>
          </a:p>
        </p:txBody>
      </p:sp>
      <p:sp>
        <p:nvSpPr>
          <p:cNvPr id="41" name="MIO_AGENDA_ELEMENT_ELEMENTNUMBER_7">
            <a:hlinkClick r:id="" action="ppaction://noaction"/>
            <a:extLst>
              <a:ext uri="{FF2B5EF4-FFF2-40B4-BE49-F238E27FC236}">
                <a16:creationId xmlns:a16="http://schemas.microsoft.com/office/drawing/2014/main" id="{36BB4503-4CFC-444E-BD86-0E2BFCBB440D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334433" y="5156898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38218494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AE71E1E-4C0C-F1B6-C1A5-F45671DB2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lossary</a:t>
            </a:r>
            <a:endParaRPr lang="en-US" dirty="0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298EDBAE-F1E5-6C6D-95FA-A730DD6B2145}"/>
              </a:ext>
            </a:extLst>
          </p:cNvPr>
          <p:cNvGraphicFramePr>
            <a:graphicFrameLocks noGrp="1"/>
          </p:cNvGraphicFramePr>
          <p:nvPr/>
        </p:nvGraphicFramePr>
        <p:xfrm>
          <a:off x="1295466" y="1451186"/>
          <a:ext cx="9121013" cy="3809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4809">
                  <a:extLst>
                    <a:ext uri="{9D8B030D-6E8A-4147-A177-3AD203B41FA5}">
                      <a16:colId xmlns:a16="http://schemas.microsoft.com/office/drawing/2014/main" val="3177525015"/>
                    </a:ext>
                  </a:extLst>
                </a:gridCol>
                <a:gridCol w="6966204">
                  <a:extLst>
                    <a:ext uri="{9D8B030D-6E8A-4147-A177-3AD203B41FA5}">
                      <a16:colId xmlns:a16="http://schemas.microsoft.com/office/drawing/2014/main" val="728682750"/>
                    </a:ext>
                  </a:extLst>
                </a:gridCol>
              </a:tblGrid>
              <a:tr h="544260">
                <a:tc>
                  <a:txBody>
                    <a:bodyPr/>
                    <a:lstStyle/>
                    <a:p>
                      <a:r>
                        <a:rPr lang="en-US" sz="1900"/>
                        <a:t>Short Form</a:t>
                      </a:r>
                      <a:endParaRPr lang="en-US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1900"/>
                        <a:t>Description</a:t>
                      </a:r>
                      <a:endParaRPr lang="en-US" sz="19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861627688"/>
                  </a:ext>
                </a:extLst>
              </a:tr>
              <a:tr h="544260">
                <a:tc>
                  <a:txBody>
                    <a:bodyPr/>
                    <a:lstStyle/>
                    <a:p>
                      <a:r>
                        <a:rPr lang="en-US" sz="1600"/>
                        <a:t>AI</a:t>
                      </a:r>
                      <a:endParaRPr lang="en-US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Artificial Intelligence</a:t>
                      </a:r>
                      <a:endParaRPr lang="en-US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863266962"/>
                  </a:ext>
                </a:extLst>
              </a:tr>
              <a:tr h="544260">
                <a:tc>
                  <a:txBody>
                    <a:bodyPr/>
                    <a:lstStyle/>
                    <a:p>
                      <a:r>
                        <a:rPr lang="en-US" sz="1600"/>
                        <a:t>ML</a:t>
                      </a:r>
                      <a:endParaRPr lang="en-US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Machine Learning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019857883"/>
                  </a:ext>
                </a:extLst>
              </a:tr>
              <a:tr h="544260">
                <a:tc>
                  <a:txBody>
                    <a:bodyPr/>
                    <a:lstStyle/>
                    <a:p>
                      <a:r>
                        <a:rPr lang="en-US" sz="1600" dirty="0"/>
                        <a:t>CV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Computer Vision</a:t>
                      </a:r>
                      <a:endParaRPr lang="en-US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183071001"/>
                  </a:ext>
                </a:extLst>
              </a:tr>
              <a:tr h="544260">
                <a:tc>
                  <a:txBody>
                    <a:bodyPr/>
                    <a:lstStyle/>
                    <a:p>
                      <a:r>
                        <a:rPr lang="en-US" sz="1600"/>
                        <a:t>NLP</a:t>
                      </a:r>
                      <a:endParaRPr lang="en-US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atural Language Processing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49596792"/>
                  </a:ext>
                </a:extLst>
              </a:tr>
              <a:tr h="544260">
                <a:tc>
                  <a:txBody>
                    <a:bodyPr/>
                    <a:lstStyle/>
                    <a:p>
                      <a:r>
                        <a:rPr lang="en-US" sz="1600"/>
                        <a:t>DL</a:t>
                      </a:r>
                      <a:endParaRPr lang="en-US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Deep Learning</a:t>
                      </a:r>
                      <a:endParaRPr lang="en-US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311843795"/>
                  </a:ext>
                </a:extLst>
              </a:tr>
              <a:tr h="544260">
                <a:tc>
                  <a:txBody>
                    <a:bodyPr/>
                    <a:lstStyle/>
                    <a:p>
                      <a:r>
                        <a:rPr lang="en-US" sz="1600"/>
                        <a:t>CNN</a:t>
                      </a:r>
                      <a:endParaRPr lang="en-US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onvolutional Neural Network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9191265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2743149"/>
      </p:ext>
    </p:extLst>
  </p:cSld>
  <p:clrMapOvr>
    <a:masterClrMapping/>
  </p:clrMapOvr>
  <p:transition spd="slow"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64355-9D53-46A5-B26A-A4332482B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ferenc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509DEA-593F-4B1E-9627-F673391AE3D1}"/>
              </a:ext>
            </a:extLst>
          </p:cNvPr>
          <p:cNvSpPr/>
          <p:nvPr/>
        </p:nvSpPr>
        <p:spPr>
          <a:xfrm>
            <a:off x="263352" y="1133356"/>
            <a:ext cx="8568952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200" dirty="0">
                <a:hlinkClick r:id="rId2"/>
              </a:rPr>
              <a:t>https://medium.com/@prajwalkankate/what-is-genai-7e10f008e749</a:t>
            </a:r>
            <a:endParaRPr lang="en-IN" sz="1200" dirty="0"/>
          </a:p>
          <a:p>
            <a:endParaRPr lang="en-IN" sz="1200" dirty="0"/>
          </a:p>
          <a:p>
            <a:r>
              <a:rPr lang="en-IN" sz="1200" dirty="0">
                <a:hlinkClick r:id="rId3"/>
              </a:rPr>
              <a:t>https://www.flaticon.com/free-icon/deep-learning_2103832</a:t>
            </a:r>
            <a:endParaRPr lang="en-IN" sz="1200" dirty="0"/>
          </a:p>
          <a:p>
            <a:endParaRPr lang="en-IN" sz="1200" dirty="0"/>
          </a:p>
          <a:p>
            <a:r>
              <a:rPr lang="en-IN" sz="1200" dirty="0">
                <a:hlinkClick r:id="rId4"/>
              </a:rPr>
              <a:t>https://www.flaticon.com/free-icon/video-production_2471471</a:t>
            </a:r>
            <a:endParaRPr lang="en-IN" sz="1200" dirty="0"/>
          </a:p>
          <a:p>
            <a:endParaRPr lang="en-IN" sz="1200" dirty="0"/>
          </a:p>
          <a:p>
            <a:r>
              <a:rPr lang="en-IN" sz="1200" dirty="0">
                <a:hlinkClick r:id="rId5"/>
              </a:rPr>
              <a:t>https://ur.javamem.com/pictures/coding-clipart</a:t>
            </a:r>
            <a:endParaRPr lang="en-IN" sz="1200" dirty="0"/>
          </a:p>
          <a:p>
            <a:endParaRPr lang="en-IN" sz="1200" dirty="0"/>
          </a:p>
          <a:p>
            <a:r>
              <a:rPr lang="en-IN" sz="1200" dirty="0">
                <a:hlinkClick r:id="rId6"/>
              </a:rPr>
              <a:t>https://www.freepik.com/icon/limitation_8916262</a:t>
            </a:r>
            <a:endParaRPr lang="en-IN" sz="1200" dirty="0"/>
          </a:p>
          <a:p>
            <a:endParaRPr lang="en-IN" sz="1200" dirty="0"/>
          </a:p>
          <a:p>
            <a:r>
              <a:rPr lang="en-IN" sz="1200" dirty="0">
                <a:hlinkClick r:id="rId7"/>
              </a:rPr>
              <a:t>https://en.wikipedia.org/wiki/Hallucination_%28artificial_intelligence%29</a:t>
            </a:r>
            <a:endParaRPr lang="en-IN" sz="1200" dirty="0"/>
          </a:p>
          <a:p>
            <a:endParaRPr lang="en-IN" sz="1200" dirty="0"/>
          </a:p>
          <a:p>
            <a:r>
              <a:rPr lang="en-IN" sz="1200" dirty="0">
                <a:hlinkClick r:id="rId8"/>
              </a:rPr>
              <a:t>https://freebiehive.com/chat-gpt-logo-png/</a:t>
            </a:r>
            <a:endParaRPr lang="en-IN" sz="1200" dirty="0"/>
          </a:p>
          <a:p>
            <a:endParaRPr lang="en-IN" sz="1200" dirty="0"/>
          </a:p>
          <a:p>
            <a:r>
              <a:rPr lang="en-IN" sz="1200" dirty="0">
                <a:hlinkClick r:id="rId9"/>
              </a:rPr>
              <a:t>https://mlmlovevs.live/product_details/4510993.html</a:t>
            </a:r>
            <a:endParaRPr lang="en-IN" sz="1200" dirty="0"/>
          </a:p>
          <a:p>
            <a:endParaRPr lang="en-IN" sz="1200" dirty="0"/>
          </a:p>
          <a:p>
            <a:r>
              <a:rPr lang="en-IN" sz="1200" dirty="0">
                <a:hlinkClick r:id="rId10"/>
              </a:rPr>
              <a:t>https://www.pycodemates.com/2023/08/top-5-generative-ai-tools-and-uses.html#google_vignette\</a:t>
            </a:r>
            <a:endParaRPr lang="en-IN" sz="1200" dirty="0"/>
          </a:p>
          <a:p>
            <a:endParaRPr lang="en-IN" sz="1200" dirty="0"/>
          </a:p>
          <a:p>
            <a:r>
              <a:rPr lang="en-IN" sz="1200" dirty="0">
                <a:hlinkClick r:id="rId11"/>
              </a:rPr>
              <a:t>https://datasciencedojo.com/blog/embeddings-and-llm/</a:t>
            </a:r>
            <a:endParaRPr lang="en-IN" sz="1200" dirty="0"/>
          </a:p>
          <a:p>
            <a:endParaRPr lang="en-IN" sz="1200" dirty="0">
              <a:hlinkClick r:id="rId12"/>
            </a:endParaRPr>
          </a:p>
          <a:p>
            <a:r>
              <a:rPr lang="en-IN" sz="1200" dirty="0">
                <a:hlinkClick r:id="rId12"/>
              </a:rPr>
              <a:t>https://www.freepik.com/icon/voice-command_1464780</a:t>
            </a:r>
            <a:endParaRPr lang="en-IN" sz="1200" dirty="0"/>
          </a:p>
          <a:p>
            <a:endParaRPr lang="en-IN" sz="1200" dirty="0"/>
          </a:p>
          <a:p>
            <a:r>
              <a:rPr lang="en-IN" sz="1200" dirty="0">
                <a:hlinkClick r:id="rId13"/>
              </a:rPr>
              <a:t>https://www.analyticsvidhya.com/blog/2023/12/generative-ai-vs-traditional-ai/</a:t>
            </a:r>
            <a:endParaRPr lang="en-IN" sz="1200" dirty="0"/>
          </a:p>
          <a:p>
            <a:endParaRPr lang="en-IN" sz="1200" dirty="0"/>
          </a:p>
          <a:p>
            <a:r>
              <a:rPr lang="en-IN" sz="1200" dirty="0">
                <a:hlinkClick r:id="rId14"/>
              </a:rPr>
              <a:t>https://d3i71xaburhd42.cloudfront.net/6825ba09383bc758f9a2feaebabe35a6cd4adc4c/1-Figure1-1.png</a:t>
            </a:r>
            <a:endParaRPr lang="en-IN" sz="1200" dirty="0"/>
          </a:p>
          <a:p>
            <a:endParaRPr lang="en-IN" sz="1200" dirty="0"/>
          </a:p>
          <a:p>
            <a:r>
              <a:rPr lang="en-IN" sz="1200" dirty="0">
                <a:hlinkClick r:id="rId15"/>
              </a:rPr>
              <a:t>https://static.vecteezy.com/system/resources/previews/053/120/260/non_2x/a-flat-illustration-of-robot-maid-holding-broom-and-bucket-vector.jpg</a:t>
            </a:r>
            <a:endParaRPr lang="en-IN" sz="1200" dirty="0"/>
          </a:p>
          <a:p>
            <a:endParaRPr lang="en-IN" sz="1200" dirty="0"/>
          </a:p>
          <a:p>
            <a:endParaRPr lang="en-IN" sz="1200" dirty="0"/>
          </a:p>
          <a:p>
            <a:endParaRPr lang="en-IN" sz="1200" dirty="0"/>
          </a:p>
          <a:p>
            <a:endParaRPr lang="en-IN" sz="1200" dirty="0"/>
          </a:p>
          <a:p>
            <a:endParaRPr lang="en-IN" sz="1200" dirty="0"/>
          </a:p>
        </p:txBody>
      </p:sp>
    </p:spTree>
    <p:extLst>
      <p:ext uri="{BB962C8B-B14F-4D97-AF65-F5344CB8AC3E}">
        <p14:creationId xmlns:p14="http://schemas.microsoft.com/office/powerpoint/2010/main" val="190934907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5622-412B-4287-8F47-4FC203404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Nice to meet you</a:t>
            </a:r>
            <a:endParaRPr lang="en-IN" dirty="0">
              <a:latin typeface="+mn-lt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650BB62-DB33-4009-9863-ED8087320EC9}"/>
              </a:ext>
            </a:extLst>
          </p:cNvPr>
          <p:cNvCxnSpPr>
            <a:cxnSpLocks/>
          </p:cNvCxnSpPr>
          <p:nvPr/>
        </p:nvCxnSpPr>
        <p:spPr>
          <a:xfrm>
            <a:off x="4655841" y="1387940"/>
            <a:ext cx="0" cy="1248972"/>
          </a:xfrm>
          <a:prstGeom prst="line">
            <a:avLst/>
          </a:prstGeom>
          <a:ln w="381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21CE975-BCD6-46C7-8E7B-6D765F955337}"/>
              </a:ext>
            </a:extLst>
          </p:cNvPr>
          <p:cNvCxnSpPr>
            <a:cxnSpLocks/>
          </p:cNvCxnSpPr>
          <p:nvPr/>
        </p:nvCxnSpPr>
        <p:spPr>
          <a:xfrm>
            <a:off x="4655841" y="2996952"/>
            <a:ext cx="0" cy="1296144"/>
          </a:xfrm>
          <a:prstGeom prst="line">
            <a:avLst/>
          </a:prstGeom>
          <a:ln w="381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C625AFC-0B72-46A8-8031-76EB5C390B96}"/>
              </a:ext>
            </a:extLst>
          </p:cNvPr>
          <p:cNvSpPr txBox="1"/>
          <p:nvPr/>
        </p:nvSpPr>
        <p:spPr bwMode="auto">
          <a:xfrm>
            <a:off x="4946194" y="4581128"/>
            <a:ext cx="5179931" cy="1100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US" sz="1600" b="1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Pavan Kumar</a:t>
            </a:r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  <a:hlinkClick r:id="rId2"/>
              </a:rPr>
              <a:t>apavan.kumar-ee@Infineon.com</a:t>
            </a:r>
            <a:endParaRPr lang="en-US" sz="1600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lang="en-US" sz="1600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Designation – </a:t>
            </a:r>
            <a:r>
              <a:rPr lang="en-US" sz="1600" b="1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Machine Learning Speciali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54FD70C-B0F7-4906-93AF-C0EAE819DE76}"/>
              </a:ext>
            </a:extLst>
          </p:cNvPr>
          <p:cNvSpPr txBox="1"/>
          <p:nvPr/>
        </p:nvSpPr>
        <p:spPr bwMode="auto">
          <a:xfrm>
            <a:off x="4946194" y="2998666"/>
            <a:ext cx="5679340" cy="1100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US" sz="1600" b="1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Subid Kumar Parida</a:t>
            </a:r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IN" sz="1600" dirty="0">
                <a:hlinkClick r:id="rId3"/>
              </a:rPr>
              <a:t>subidkumar.parida-ee@infineon.com</a:t>
            </a:r>
            <a:endParaRPr lang="en-IN" sz="1600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lang="en-IN" sz="1600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Designation</a:t>
            </a:r>
            <a:r>
              <a:rPr lang="en-IN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 -  </a:t>
            </a:r>
            <a:r>
              <a:rPr lang="en-IN" sz="1600" b="1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Machine Learning Specialist</a:t>
            </a:r>
            <a:endParaRPr lang="en-US" sz="1600" b="1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5985FDB-CEA1-4360-B92D-8F359170C983}"/>
              </a:ext>
            </a:extLst>
          </p:cNvPr>
          <p:cNvCxnSpPr>
            <a:cxnSpLocks/>
          </p:cNvCxnSpPr>
          <p:nvPr/>
        </p:nvCxnSpPr>
        <p:spPr>
          <a:xfrm>
            <a:off x="4655841" y="4581128"/>
            <a:ext cx="0" cy="1296144"/>
          </a:xfrm>
          <a:prstGeom prst="line">
            <a:avLst/>
          </a:prstGeom>
          <a:ln w="381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2587DFD8-9FA4-4558-9863-9C7FB65A7227}"/>
              </a:ext>
            </a:extLst>
          </p:cNvPr>
          <p:cNvSpPr txBox="1"/>
          <p:nvPr/>
        </p:nvSpPr>
        <p:spPr bwMode="auto">
          <a:xfrm>
            <a:off x="4946194" y="1377394"/>
            <a:ext cx="5679340" cy="1100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US" sz="1600" b="1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Jiwank Shukla</a:t>
            </a:r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IN" sz="1600" dirty="0">
                <a:hlinkClick r:id="rId4"/>
              </a:rPr>
              <a:t>Jiwank.Shukla@infineon.com</a:t>
            </a:r>
            <a:endParaRPr lang="en-IN" sz="1600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lang="en-IN" sz="1600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Designation</a:t>
            </a:r>
            <a:r>
              <a:rPr lang="en-IN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 -  </a:t>
            </a:r>
            <a:r>
              <a:rPr lang="en-IN" sz="1600" b="1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Senior</a:t>
            </a:r>
            <a:r>
              <a:rPr lang="en-IN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IN" sz="1600" b="1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Machine Learning Engineer</a:t>
            </a:r>
            <a:endParaRPr lang="en-US" sz="1600" b="1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6138EF-480F-4F06-AE23-5EA7229D8E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76" y="1439790"/>
            <a:ext cx="1087853" cy="13051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E506EBA-08B7-43F0-9930-F344654B2A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5600" y="4725144"/>
            <a:ext cx="1174010" cy="129681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199D808-46F5-4AF9-BC17-4743395117A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3" t="8674" r="22787" b="44118"/>
          <a:stretch/>
        </p:blipFill>
        <p:spPr>
          <a:xfrm>
            <a:off x="2495600" y="3119073"/>
            <a:ext cx="1174010" cy="1174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5588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DBD4E-6BDA-4C54-9216-B37057FB5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Agenda</a:t>
            </a:r>
          </a:p>
        </p:txBody>
      </p:sp>
      <p:sp>
        <p:nvSpPr>
          <p:cNvPr id="27" name="MIO_AGENDA_ELEMENT_TITEL_4">
            <a:hlinkClick r:id="" action="ppaction://noaction"/>
            <a:extLst>
              <a:ext uri="{FF2B5EF4-FFF2-40B4-BE49-F238E27FC236}">
                <a16:creationId xmlns:a16="http://schemas.microsoft.com/office/drawing/2014/main" id="{5F7EE3AB-0A83-4648-A26A-22CC76D546A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1241679" y="3212655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The Magic of Words: Exploring NLP</a:t>
            </a:r>
          </a:p>
        </p:txBody>
      </p:sp>
      <p:sp>
        <p:nvSpPr>
          <p:cNvPr id="28" name="MIO_AGENDA_ELEMENT_TITEL_3">
            <a:hlinkClick r:id="" action="ppaction://noaction"/>
            <a:extLst>
              <a:ext uri="{FF2B5EF4-FFF2-40B4-BE49-F238E27FC236}">
                <a16:creationId xmlns:a16="http://schemas.microsoft.com/office/drawing/2014/main" id="{C5EDBFCD-C3A1-4E98-8496-82EECAE6FE2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241678" y="256655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/>
              <a:t>Understanding AI, ML, and DL</a:t>
            </a:r>
            <a:endParaRPr lang="en-US" sz="32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9" name="MIO_AGENDA_ELEMENT_TITEL_1">
            <a:hlinkClick r:id="" action="ppaction://noaction"/>
            <a:extLst>
              <a:ext uri="{FF2B5EF4-FFF2-40B4-BE49-F238E27FC236}">
                <a16:creationId xmlns:a16="http://schemas.microsoft.com/office/drawing/2014/main" id="{AFCAEBBB-21F5-4E7A-B2FF-33FEC0318CC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1235074" y="126841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b="1" dirty="0">
                <a:latin typeface="+mn-lt"/>
                <a:cs typeface="Calibri" panose="020F0502020204030204" pitchFamily="34" charset="0"/>
              </a:rPr>
              <a:t>Introduction</a:t>
            </a:r>
          </a:p>
        </p:txBody>
      </p:sp>
      <p:sp>
        <p:nvSpPr>
          <p:cNvPr id="30" name="MIO_AGENDA_ELEMENT_TITEL_2">
            <a:hlinkClick r:id="" action="ppaction://noaction"/>
            <a:extLst>
              <a:ext uri="{FF2B5EF4-FFF2-40B4-BE49-F238E27FC236}">
                <a16:creationId xmlns:a16="http://schemas.microsoft.com/office/drawing/2014/main" id="{0517FAAD-E521-41E5-A920-2B7BA63A921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235075" y="191649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cs typeface="Calibri" panose="020F0502020204030204" pitchFamily="34" charset="0"/>
              </a:rPr>
              <a:t>Our Diverse Expertise in AI at Infineon</a:t>
            </a:r>
          </a:p>
        </p:txBody>
      </p:sp>
      <p:sp>
        <p:nvSpPr>
          <p:cNvPr id="31" name="MIO_AGENDA_ELEMENT_ELEMENTNUMBER_3">
            <a:hlinkClick r:id="" action="ppaction://noaction"/>
            <a:extLst>
              <a:ext uri="{FF2B5EF4-FFF2-40B4-BE49-F238E27FC236}">
                <a16:creationId xmlns:a16="http://schemas.microsoft.com/office/drawing/2014/main" id="{416C2E09-3F65-4DE1-9E70-B438F5D5008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34433" y="2564574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2" name="MIO_AGENDA_ELEMENT_ELEMENTNUMBER_4">
            <a:hlinkClick r:id="" action="ppaction://noaction"/>
            <a:extLst>
              <a:ext uri="{FF2B5EF4-FFF2-40B4-BE49-F238E27FC236}">
                <a16:creationId xmlns:a16="http://schemas.microsoft.com/office/drawing/2014/main" id="{7F08F1CC-69CF-401B-A20B-FFE24BE3CE2E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34433" y="3212655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4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9D5F54F9-CF45-495E-95FF-58411168B182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334433" y="191649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5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B81BB8D1-C42D-4126-8291-252C758E66F3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335360" y="126841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6" name="MIO_AGENDA_ELEMENT_TITEL_5">
            <a:hlinkClick r:id="" action="ppaction://noaction"/>
            <a:extLst>
              <a:ext uri="{FF2B5EF4-FFF2-40B4-BE49-F238E27FC236}">
                <a16:creationId xmlns:a16="http://schemas.microsoft.com/office/drawing/2014/main" id="{7FAB6CE2-DD0D-48D0-82C0-AA7CC07B53B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1235075" y="3860736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Generative AI &amp; LLM’s</a:t>
            </a:r>
          </a:p>
        </p:txBody>
      </p:sp>
      <p:sp>
        <p:nvSpPr>
          <p:cNvPr id="37" name="MIO_AGENDA_ELEMENT_ELEMENTNUMBER_5">
            <a:hlinkClick r:id="" action="ppaction://noaction"/>
            <a:extLst>
              <a:ext uri="{FF2B5EF4-FFF2-40B4-BE49-F238E27FC236}">
                <a16:creationId xmlns:a16="http://schemas.microsoft.com/office/drawing/2014/main" id="{CE77E5AB-3A7F-4455-8BF0-F8EA0126F171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334433" y="3860736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5</a:t>
            </a:r>
            <a:endParaRPr lang="en-US" sz="20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8" name="MIO_AGENDA_ELEMENT_TITEL_6">
            <a:hlinkClick r:id="" action="ppaction://noaction"/>
            <a:extLst>
              <a:ext uri="{FF2B5EF4-FFF2-40B4-BE49-F238E27FC236}">
                <a16:creationId xmlns:a16="http://schemas.microsoft.com/office/drawing/2014/main" id="{7CEBD169-3EFB-42F2-B856-3BED5F09E60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1235075" y="4508817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/>
              <a:t>From LLM’s to Agentic Systems</a:t>
            </a:r>
            <a:endParaRPr lang="en-US" sz="2000" dirty="0">
              <a:cs typeface="Calibri" panose="020F0502020204030204" pitchFamily="34" charset="0"/>
            </a:endParaRPr>
          </a:p>
        </p:txBody>
      </p:sp>
      <p:sp>
        <p:nvSpPr>
          <p:cNvPr id="39" name="MIO_AGENDA_ELEMENT_ELEMENTNUMBER_6">
            <a:hlinkClick r:id="" action="ppaction://noaction"/>
            <a:extLst>
              <a:ext uri="{FF2B5EF4-FFF2-40B4-BE49-F238E27FC236}">
                <a16:creationId xmlns:a16="http://schemas.microsoft.com/office/drawing/2014/main" id="{06FB1344-D58E-4AA7-B6D4-323DEDF397EB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334433" y="4508817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40" name="MIO_AGENDA_ELEMENT_TITEL_7">
            <a:hlinkClick r:id="" action="ppaction://noaction"/>
            <a:extLst>
              <a:ext uri="{FF2B5EF4-FFF2-40B4-BE49-F238E27FC236}">
                <a16:creationId xmlns:a16="http://schemas.microsoft.com/office/drawing/2014/main" id="{6EC1C474-5C66-46AA-B48D-B95355612F68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1235075" y="5156898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References &amp; Glossary</a:t>
            </a:r>
          </a:p>
        </p:txBody>
      </p:sp>
      <p:sp>
        <p:nvSpPr>
          <p:cNvPr id="41" name="MIO_AGENDA_ELEMENT_ELEMENTNUMBER_7">
            <a:hlinkClick r:id="" action="ppaction://noaction"/>
            <a:extLst>
              <a:ext uri="{FF2B5EF4-FFF2-40B4-BE49-F238E27FC236}">
                <a16:creationId xmlns:a16="http://schemas.microsoft.com/office/drawing/2014/main" id="{36BB4503-4CFC-444E-BD86-0E2BFCBB440D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334433" y="5156898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7</a:t>
            </a:r>
            <a:endParaRPr lang="en-US" sz="20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01450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5622-412B-4287-8F47-4FC203404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Nice to meet you</a:t>
            </a:r>
            <a:endParaRPr lang="en-IN" dirty="0">
              <a:latin typeface="+mn-lt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650BB62-DB33-4009-9863-ED8087320EC9}"/>
              </a:ext>
            </a:extLst>
          </p:cNvPr>
          <p:cNvCxnSpPr>
            <a:cxnSpLocks/>
          </p:cNvCxnSpPr>
          <p:nvPr/>
        </p:nvCxnSpPr>
        <p:spPr>
          <a:xfrm>
            <a:off x="4655841" y="1387940"/>
            <a:ext cx="0" cy="1248972"/>
          </a:xfrm>
          <a:prstGeom prst="line">
            <a:avLst/>
          </a:prstGeom>
          <a:ln w="381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21CE975-BCD6-46C7-8E7B-6D765F955337}"/>
              </a:ext>
            </a:extLst>
          </p:cNvPr>
          <p:cNvCxnSpPr>
            <a:cxnSpLocks/>
          </p:cNvCxnSpPr>
          <p:nvPr/>
        </p:nvCxnSpPr>
        <p:spPr>
          <a:xfrm>
            <a:off x="4655841" y="3284984"/>
            <a:ext cx="0" cy="1296144"/>
          </a:xfrm>
          <a:prstGeom prst="line">
            <a:avLst/>
          </a:prstGeom>
          <a:ln w="381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54FD70C-B0F7-4906-93AF-C0EAE819DE76}"/>
              </a:ext>
            </a:extLst>
          </p:cNvPr>
          <p:cNvSpPr txBox="1"/>
          <p:nvPr/>
        </p:nvSpPr>
        <p:spPr bwMode="auto">
          <a:xfrm>
            <a:off x="4946194" y="3286698"/>
            <a:ext cx="5679340" cy="1100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US" sz="1600" b="1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Mothy Gobbilla</a:t>
            </a:r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IN" sz="1600" dirty="0">
                <a:hlinkClick r:id="rId2"/>
              </a:rPr>
              <a:t>Harshal.Kumeriya@infineon.com</a:t>
            </a:r>
            <a:endParaRPr lang="en-IN" sz="1600" dirty="0"/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lang="en-IN" sz="1600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Designation</a:t>
            </a:r>
            <a:r>
              <a:rPr lang="en-IN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 - </a:t>
            </a:r>
            <a:r>
              <a:rPr lang="en-IN" sz="1600" b="1" kern="0" dirty="0">
                <a:ea typeface="Verdana" pitchFamily="34" charset="0"/>
                <a:cs typeface="Arial" panose="020B0604020202020204" pitchFamily="34" charset="0"/>
              </a:rPr>
              <a:t>Senior</a:t>
            </a:r>
            <a:r>
              <a:rPr lang="en-IN" sz="1600" kern="0" dirty="0"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IN" sz="1600" b="1" kern="0" dirty="0">
                <a:ea typeface="Verdana" pitchFamily="34" charset="0"/>
                <a:cs typeface="Arial" panose="020B0604020202020204" pitchFamily="34" charset="0"/>
              </a:rPr>
              <a:t>Machine Learning Engineer</a:t>
            </a:r>
            <a:endParaRPr lang="en-US" sz="1600" b="1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587DFD8-9FA4-4558-9863-9C7FB65A7227}"/>
              </a:ext>
            </a:extLst>
          </p:cNvPr>
          <p:cNvSpPr txBox="1"/>
          <p:nvPr/>
        </p:nvSpPr>
        <p:spPr bwMode="auto">
          <a:xfrm>
            <a:off x="4946194" y="1377394"/>
            <a:ext cx="5679340" cy="1100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US" sz="1600" b="1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Jiwank Shukla</a:t>
            </a:r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IN" sz="1600" dirty="0">
                <a:hlinkClick r:id="rId3"/>
              </a:rPr>
              <a:t>Jiwank.Shukla@infineon.com</a:t>
            </a:r>
            <a:endParaRPr lang="en-IN" sz="1600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lang="en-IN" sz="1600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Designation</a:t>
            </a:r>
            <a:r>
              <a:rPr lang="en-IN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 -  </a:t>
            </a:r>
            <a:r>
              <a:rPr lang="en-IN" sz="1600" b="1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Senior</a:t>
            </a:r>
            <a:r>
              <a:rPr lang="en-IN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IN" sz="1600" b="1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Machine Learning Engineer</a:t>
            </a:r>
            <a:endParaRPr lang="en-US" sz="1600" b="1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ABE95A-98A9-41CF-8CC1-1EE69AF2606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28"/>
          <a:stretch/>
        </p:blipFill>
        <p:spPr>
          <a:xfrm>
            <a:off x="3256691" y="1304163"/>
            <a:ext cx="1218425" cy="149327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B4C2268-0FC0-40F0-9628-A18C298568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8384" y="3286698"/>
            <a:ext cx="1356732" cy="1356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75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DBD4E-6BDA-4C54-9216-B37057FB5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+mn-lt"/>
              </a:rPr>
              <a:t>Agenda</a:t>
            </a:r>
          </a:p>
        </p:txBody>
      </p:sp>
      <p:sp>
        <p:nvSpPr>
          <p:cNvPr id="27" name="MIO_AGENDA_ELEMENT_TITEL_4">
            <a:hlinkClick r:id="" action="ppaction://noaction"/>
            <a:extLst>
              <a:ext uri="{FF2B5EF4-FFF2-40B4-BE49-F238E27FC236}">
                <a16:creationId xmlns:a16="http://schemas.microsoft.com/office/drawing/2014/main" id="{5F7EE3AB-0A83-4648-A26A-22CC76D546A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1241679" y="3212655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The Magic of Words: Exploring NLP</a:t>
            </a:r>
          </a:p>
        </p:txBody>
      </p:sp>
      <p:sp>
        <p:nvSpPr>
          <p:cNvPr id="28" name="MIO_AGENDA_ELEMENT_TITEL_3">
            <a:hlinkClick r:id="" action="ppaction://noaction"/>
            <a:extLst>
              <a:ext uri="{FF2B5EF4-FFF2-40B4-BE49-F238E27FC236}">
                <a16:creationId xmlns:a16="http://schemas.microsoft.com/office/drawing/2014/main" id="{C5EDBFCD-C3A1-4E98-8496-82EECAE6FE2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241678" y="256655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/>
              <a:t>Understanding AI, ML, and DL</a:t>
            </a:r>
            <a:endParaRPr lang="en-US" sz="32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9" name="MIO_AGENDA_ELEMENT_TITEL_1">
            <a:hlinkClick r:id="" action="ppaction://noaction"/>
            <a:extLst>
              <a:ext uri="{FF2B5EF4-FFF2-40B4-BE49-F238E27FC236}">
                <a16:creationId xmlns:a16="http://schemas.microsoft.com/office/drawing/2014/main" id="{AFCAEBBB-21F5-4E7A-B2FF-33FEC0318CC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1235074" y="126841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Introduction</a:t>
            </a:r>
          </a:p>
        </p:txBody>
      </p:sp>
      <p:sp>
        <p:nvSpPr>
          <p:cNvPr id="30" name="MIO_AGENDA_ELEMENT_TITEL_2">
            <a:hlinkClick r:id="" action="ppaction://noaction"/>
            <a:extLst>
              <a:ext uri="{FF2B5EF4-FFF2-40B4-BE49-F238E27FC236}">
                <a16:creationId xmlns:a16="http://schemas.microsoft.com/office/drawing/2014/main" id="{0517FAAD-E521-41E5-A920-2B7BA63A921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235075" y="1916493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b="1" dirty="0">
                <a:cs typeface="Calibri" panose="020F0502020204030204" pitchFamily="34" charset="0"/>
              </a:rPr>
              <a:t>Our Diverse Expertise in AI at Infineon</a:t>
            </a:r>
          </a:p>
        </p:txBody>
      </p:sp>
      <p:sp>
        <p:nvSpPr>
          <p:cNvPr id="31" name="MIO_AGENDA_ELEMENT_ELEMENTNUMBER_3">
            <a:hlinkClick r:id="" action="ppaction://noaction"/>
            <a:extLst>
              <a:ext uri="{FF2B5EF4-FFF2-40B4-BE49-F238E27FC236}">
                <a16:creationId xmlns:a16="http://schemas.microsoft.com/office/drawing/2014/main" id="{416C2E09-3F65-4DE1-9E70-B438F5D5008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34433" y="2564574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2" name="MIO_AGENDA_ELEMENT_ELEMENTNUMBER_4">
            <a:hlinkClick r:id="" action="ppaction://noaction"/>
            <a:extLst>
              <a:ext uri="{FF2B5EF4-FFF2-40B4-BE49-F238E27FC236}">
                <a16:creationId xmlns:a16="http://schemas.microsoft.com/office/drawing/2014/main" id="{7F08F1CC-69CF-401B-A20B-FFE24BE3CE2E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34433" y="3212655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4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9D5F54F9-CF45-495E-95FF-58411168B182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334433" y="191649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5" name="MIO_AGENDA_ELEMENT_ELEMENTNUMBER_2">
            <a:hlinkClick r:id="" action="ppaction://noaction"/>
            <a:extLst>
              <a:ext uri="{FF2B5EF4-FFF2-40B4-BE49-F238E27FC236}">
                <a16:creationId xmlns:a16="http://schemas.microsoft.com/office/drawing/2014/main" id="{B81BB8D1-C42D-4126-8291-252C758E66F3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335360" y="1268413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6" name="MIO_AGENDA_ELEMENT_TITEL_5">
            <a:hlinkClick r:id="" action="ppaction://noaction"/>
            <a:extLst>
              <a:ext uri="{FF2B5EF4-FFF2-40B4-BE49-F238E27FC236}">
                <a16:creationId xmlns:a16="http://schemas.microsoft.com/office/drawing/2014/main" id="{7FAB6CE2-DD0D-48D0-82C0-AA7CC07B53B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1235075" y="3860736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Generative AI &amp; LLM’s</a:t>
            </a:r>
          </a:p>
        </p:txBody>
      </p:sp>
      <p:sp>
        <p:nvSpPr>
          <p:cNvPr id="37" name="MIO_AGENDA_ELEMENT_ELEMENTNUMBER_5">
            <a:hlinkClick r:id="" action="ppaction://noaction"/>
            <a:extLst>
              <a:ext uri="{FF2B5EF4-FFF2-40B4-BE49-F238E27FC236}">
                <a16:creationId xmlns:a16="http://schemas.microsoft.com/office/drawing/2014/main" id="{CE77E5AB-3A7F-4455-8BF0-F8EA0126F171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334433" y="3860736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5</a:t>
            </a:r>
            <a:endParaRPr lang="en-US" sz="20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8" name="MIO_AGENDA_ELEMENT_TITEL_6">
            <a:hlinkClick r:id="" action="ppaction://noaction"/>
            <a:extLst>
              <a:ext uri="{FF2B5EF4-FFF2-40B4-BE49-F238E27FC236}">
                <a16:creationId xmlns:a16="http://schemas.microsoft.com/office/drawing/2014/main" id="{7CEBD169-3EFB-42F2-B856-3BED5F09E60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1235075" y="4508817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/>
              <a:t>From LLM’s to Agentic Systems</a:t>
            </a:r>
            <a:endParaRPr lang="en-US" sz="2000" dirty="0">
              <a:cs typeface="Calibri" panose="020F0502020204030204" pitchFamily="34" charset="0"/>
            </a:endParaRPr>
          </a:p>
        </p:txBody>
      </p:sp>
      <p:sp>
        <p:nvSpPr>
          <p:cNvPr id="39" name="MIO_AGENDA_ELEMENT_ELEMENTNUMBER_6">
            <a:hlinkClick r:id="" action="ppaction://noaction"/>
            <a:extLst>
              <a:ext uri="{FF2B5EF4-FFF2-40B4-BE49-F238E27FC236}">
                <a16:creationId xmlns:a16="http://schemas.microsoft.com/office/drawing/2014/main" id="{06FB1344-D58E-4AA7-B6D4-323DEDF397EB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334433" y="4508817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40" name="MIO_AGENDA_ELEMENT_TITEL_7">
            <a:hlinkClick r:id="" action="ppaction://noaction"/>
            <a:extLst>
              <a:ext uri="{FF2B5EF4-FFF2-40B4-BE49-F238E27FC236}">
                <a16:creationId xmlns:a16="http://schemas.microsoft.com/office/drawing/2014/main" id="{6EC1C474-5C66-46AA-B48D-B95355612F68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1235075" y="5156898"/>
            <a:ext cx="10620377" cy="5760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none" lIns="336000" tIns="36000" rIns="576000" bIns="36000"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600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sz="2000" dirty="0">
                <a:latin typeface="+mn-lt"/>
                <a:cs typeface="Calibri" panose="020F0502020204030204" pitchFamily="34" charset="0"/>
              </a:rPr>
              <a:t>References &amp; Glossary</a:t>
            </a:r>
          </a:p>
        </p:txBody>
      </p:sp>
      <p:sp>
        <p:nvSpPr>
          <p:cNvPr id="41" name="MIO_AGENDA_ELEMENT_ELEMENTNUMBER_7">
            <a:hlinkClick r:id="" action="ppaction://noaction"/>
            <a:extLst>
              <a:ext uri="{FF2B5EF4-FFF2-40B4-BE49-F238E27FC236}">
                <a16:creationId xmlns:a16="http://schemas.microsoft.com/office/drawing/2014/main" id="{36BB4503-4CFC-444E-BD86-0E2BFCBB440D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334433" y="5156898"/>
            <a:ext cx="576000" cy="576072"/>
          </a:xfrm>
          <a:prstGeom prst="ellipse">
            <a:avLst/>
          </a:prstGeom>
          <a:solidFill>
            <a:srgbClr val="0A8276"/>
          </a:solidFill>
        </p:spPr>
        <p:txBody>
          <a:bodyPr vert="horz" wrap="none" lIns="0" tIns="36000" rIns="0" bIns="3600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</a:pPr>
            <a:r>
              <a:rPr lang="en-US"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7</a:t>
            </a:r>
            <a:endParaRPr lang="en-US" sz="20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42994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4CB52960-3DB2-2A8C-656E-137DB9557CC4}"/>
              </a:ext>
            </a:extLst>
          </p:cNvPr>
          <p:cNvSpPr/>
          <p:nvPr/>
        </p:nvSpPr>
        <p:spPr bwMode="auto">
          <a:xfrm>
            <a:off x="6437031" y="1978422"/>
            <a:ext cx="5407146" cy="4402905"/>
          </a:xfrm>
          <a:prstGeom prst="rect">
            <a:avLst/>
          </a:prstGeom>
          <a:solidFill>
            <a:srgbClr val="D1E1DB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19143F7-6988-444A-CC53-61B63FA52DB4}"/>
              </a:ext>
            </a:extLst>
          </p:cNvPr>
          <p:cNvSpPr/>
          <p:nvPr/>
        </p:nvSpPr>
        <p:spPr bwMode="auto">
          <a:xfrm>
            <a:off x="335130" y="1978422"/>
            <a:ext cx="5407146" cy="4402905"/>
          </a:xfrm>
          <a:prstGeom prst="rect">
            <a:avLst/>
          </a:prstGeom>
          <a:solidFill>
            <a:srgbClr val="D1E1DB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5589DF-3984-1AC8-226F-515CF3E555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Our work at Infine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1BFEAE-1023-28B6-730C-F679A9737D9E}"/>
              </a:ext>
            </a:extLst>
          </p:cNvPr>
          <p:cNvSpPr/>
          <p:nvPr/>
        </p:nvSpPr>
        <p:spPr bwMode="auto">
          <a:xfrm>
            <a:off x="334963" y="1263960"/>
            <a:ext cx="5407315" cy="580864"/>
          </a:xfrm>
          <a:prstGeom prst="rect">
            <a:avLst/>
          </a:prstGeom>
          <a:solidFill>
            <a:srgbClr val="5EA290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r>
              <a:rPr lang="en-US" sz="1867" b="1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Using the power of NLP* improve process Efficiency</a:t>
            </a:r>
            <a:endParaRPr lang="en-US" sz="1867" b="1" dirty="0">
              <a:solidFill>
                <a:schemeClr val="bg1"/>
              </a:solidFill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98A0F8-E7B4-DA14-C285-B268A2150060}"/>
              </a:ext>
            </a:extLst>
          </p:cNvPr>
          <p:cNvSpPr/>
          <p:nvPr/>
        </p:nvSpPr>
        <p:spPr bwMode="auto">
          <a:xfrm>
            <a:off x="6426561" y="1263960"/>
            <a:ext cx="5407146" cy="580864"/>
          </a:xfrm>
          <a:prstGeom prst="rect">
            <a:avLst/>
          </a:prstGeom>
          <a:solidFill>
            <a:srgbClr val="5EA290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r>
              <a:rPr lang="en-US" sz="1867" b="1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Enabling CV* in Manufacturing</a:t>
            </a:r>
            <a:endParaRPr lang="en-US" sz="1867" b="1" dirty="0">
              <a:solidFill>
                <a:schemeClr val="bg1"/>
              </a:solidFill>
              <a:latin typeface="+mn-lt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028" name="Picture 4" descr="Manufacturing - Infineon Technologies">
            <a:extLst>
              <a:ext uri="{FF2B5EF4-FFF2-40B4-BE49-F238E27FC236}">
                <a16:creationId xmlns:a16="http://schemas.microsoft.com/office/drawing/2014/main" id="{03C229F0-FB27-F845-C4FF-C64168A14F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6063" y="2076811"/>
            <a:ext cx="2150217" cy="143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afety-security-and-connectivity - Infineon Technologies">
            <a:extLst>
              <a:ext uri="{FF2B5EF4-FFF2-40B4-BE49-F238E27FC236}">
                <a16:creationId xmlns:a16="http://schemas.microsoft.com/office/drawing/2014/main" id="{BEC1B645-C5C3-66AE-465E-DD34FC729F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237" y="2093525"/>
            <a:ext cx="2169122" cy="1422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4CDEDB8-44CA-F774-53E7-0EEEEEFCA79C}"/>
              </a:ext>
            </a:extLst>
          </p:cNvPr>
          <p:cNvSpPr txBox="1"/>
          <p:nvPr/>
        </p:nvSpPr>
        <p:spPr bwMode="auto">
          <a:xfrm>
            <a:off x="2791019" y="2240529"/>
            <a:ext cx="2832315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Using various NLP techniques to bring values from the textual  and unstructured dataset from different domains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43E75C7-C73F-16DE-6C15-11F5402D6B91}"/>
              </a:ext>
            </a:extLst>
          </p:cNvPr>
          <p:cNvSpPr txBox="1"/>
          <p:nvPr/>
        </p:nvSpPr>
        <p:spPr bwMode="auto">
          <a:xfrm>
            <a:off x="8852941" y="2223814"/>
            <a:ext cx="2832315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Using CV techniques to automate &amp; improve the decision making at the chip manufacturing process</a:t>
            </a:r>
          </a:p>
        </p:txBody>
      </p:sp>
      <p:pic>
        <p:nvPicPr>
          <p:cNvPr id="1038" name="Picture 14" descr="Start Livechat - Infineon Technologies">
            <a:extLst>
              <a:ext uri="{FF2B5EF4-FFF2-40B4-BE49-F238E27FC236}">
                <a16:creationId xmlns:a16="http://schemas.microsoft.com/office/drawing/2014/main" id="{ECCDA5AC-9FD4-82CF-C0C1-E991DE5478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01" t="18492" r="24800" b="11030"/>
          <a:stretch/>
        </p:blipFill>
        <p:spPr bwMode="auto">
          <a:xfrm>
            <a:off x="3375731" y="3699646"/>
            <a:ext cx="2205780" cy="2489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Manufacturing - Infineon Technologies">
            <a:extLst>
              <a:ext uri="{FF2B5EF4-FFF2-40B4-BE49-F238E27FC236}">
                <a16:creationId xmlns:a16="http://schemas.microsoft.com/office/drawing/2014/main" id="{819389EC-9D20-5097-92F2-5105F14FDD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4507" y="4013343"/>
            <a:ext cx="2754164" cy="1835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88A4FA0-A04F-4EC3-AA49-2141F3BA4F99}"/>
              </a:ext>
            </a:extLst>
          </p:cNvPr>
          <p:cNvSpPr/>
          <p:nvPr/>
        </p:nvSpPr>
        <p:spPr bwMode="auto">
          <a:xfrm>
            <a:off x="8544272" y="6538956"/>
            <a:ext cx="2160239" cy="260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eaLnBrk="0" hangingPunct="0"/>
            <a:r>
              <a:rPr lang="en-US" sz="900" baseline="0">
                <a:latin typeface="+mn-lt"/>
                <a:ea typeface="+mn-ea"/>
                <a:cs typeface="+mn-cs"/>
              </a:rPr>
              <a:t>NLP - Natural Language Processing</a:t>
            </a:r>
          </a:p>
          <a:p>
            <a:pPr eaLnBrk="0" hangingPunct="0"/>
            <a:r>
              <a:rPr lang="en-US" sz="900">
                <a:latin typeface="+mn-lt"/>
              </a:rPr>
              <a:t>CV   - Computer Vision</a:t>
            </a:r>
            <a:endParaRPr lang="en-US" sz="9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251EAE3-C632-4106-A778-A7C5E325F0F9}"/>
              </a:ext>
            </a:extLst>
          </p:cNvPr>
          <p:cNvSpPr txBox="1"/>
          <p:nvPr/>
        </p:nvSpPr>
        <p:spPr bwMode="auto">
          <a:xfrm>
            <a:off x="565050" y="3922892"/>
            <a:ext cx="2649915" cy="1954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Various applications:</a:t>
            </a:r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lang="en-US" sz="1600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Q&amp;A Bot</a:t>
            </a: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Sentiment analysis</a:t>
            </a: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IN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Search engines</a:t>
            </a: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IN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Text analytics</a:t>
            </a: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IN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Speech-to-Text etc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7CC7A2-09A4-4E73-8DF1-9CBD33A8826F}"/>
              </a:ext>
            </a:extLst>
          </p:cNvPr>
          <p:cNvSpPr txBox="1"/>
          <p:nvPr/>
        </p:nvSpPr>
        <p:spPr bwMode="auto">
          <a:xfrm>
            <a:off x="6614438" y="3789040"/>
            <a:ext cx="2238504" cy="2408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Various applications:</a:t>
            </a:r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lang="en-US" sz="1600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Wafer crack detection</a:t>
            </a: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Wafer defect detection</a:t>
            </a: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Similar wafer images</a:t>
            </a: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Image generation etc.</a:t>
            </a:r>
          </a:p>
        </p:txBody>
      </p:sp>
    </p:spTree>
    <p:extLst>
      <p:ext uri="{BB962C8B-B14F-4D97-AF65-F5344CB8AC3E}">
        <p14:creationId xmlns:p14="http://schemas.microsoft.com/office/powerpoint/2010/main" val="3164462604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623A309D-96B1-D92B-11BD-0AC1EE9A50D6}"/>
              </a:ext>
            </a:extLst>
          </p:cNvPr>
          <p:cNvSpPr/>
          <p:nvPr/>
        </p:nvSpPr>
        <p:spPr bwMode="auto">
          <a:xfrm>
            <a:off x="3329440" y="4704290"/>
            <a:ext cx="5641797" cy="1677460"/>
          </a:xfrm>
          <a:prstGeom prst="rect">
            <a:avLst/>
          </a:prstGeom>
          <a:solidFill>
            <a:srgbClr val="D1E1DB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B0CE82-C5F0-C2AE-7D0B-5D190B9D36A0}"/>
              </a:ext>
            </a:extLst>
          </p:cNvPr>
          <p:cNvSpPr/>
          <p:nvPr/>
        </p:nvSpPr>
        <p:spPr bwMode="auto">
          <a:xfrm>
            <a:off x="6281674" y="1935963"/>
            <a:ext cx="5574967" cy="1970670"/>
          </a:xfrm>
          <a:prstGeom prst="rect">
            <a:avLst/>
          </a:prstGeom>
          <a:solidFill>
            <a:srgbClr val="D1E1DB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1C8FDCE-BB49-BD6E-8E5B-CA6FDB694801}"/>
              </a:ext>
            </a:extLst>
          </p:cNvPr>
          <p:cNvSpPr/>
          <p:nvPr/>
        </p:nvSpPr>
        <p:spPr bwMode="auto">
          <a:xfrm>
            <a:off x="335360" y="1935963"/>
            <a:ext cx="5664629" cy="1970670"/>
          </a:xfrm>
          <a:prstGeom prst="rect">
            <a:avLst/>
          </a:prstGeom>
          <a:solidFill>
            <a:srgbClr val="D1E1DB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222A886-0A0B-6208-E90C-0B4DDD1CA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work at Infineon</a:t>
            </a:r>
            <a:endParaRPr lang="en-US" dirty="0">
              <a:latin typeface="+mn-lt"/>
            </a:endParaRPr>
          </a:p>
        </p:txBody>
      </p:sp>
      <p:pic>
        <p:nvPicPr>
          <p:cNvPr id="7" name="Picture 6" descr="Two people tinkering with an electronic circuitboard">
            <a:extLst>
              <a:ext uri="{FF2B5EF4-FFF2-40B4-BE49-F238E27FC236}">
                <a16:creationId xmlns:a16="http://schemas.microsoft.com/office/drawing/2014/main" id="{56A74870-49CF-0774-982E-6F4E98656E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9327" y="2114906"/>
            <a:ext cx="2160767" cy="1440160"/>
          </a:xfrm>
          <a:prstGeom prst="rect">
            <a:avLst/>
          </a:prstGeom>
        </p:spPr>
      </p:pic>
      <p:pic>
        <p:nvPicPr>
          <p:cNvPr id="8" name="Picture 6" descr="Infineon opens high-tech chip factory for power electronics on  300-millimeter thin wafers - Infineon Technologies">
            <a:extLst>
              <a:ext uri="{FF2B5EF4-FFF2-40B4-BE49-F238E27FC236}">
                <a16:creationId xmlns:a16="http://schemas.microsoft.com/office/drawing/2014/main" id="{B1464526-47CA-E463-AF25-5494A06227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4466" y="4760153"/>
            <a:ext cx="2160685" cy="144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2" descr="Infineon Team - Arduino Project Hub">
            <a:extLst>
              <a:ext uri="{FF2B5EF4-FFF2-40B4-BE49-F238E27FC236}">
                <a16:creationId xmlns:a16="http://schemas.microsoft.com/office/drawing/2014/main" id="{523B862E-E31C-082B-1223-C8435CAD52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28" t="4703" r="13416" b="8694"/>
          <a:stretch/>
        </p:blipFill>
        <p:spPr bwMode="auto">
          <a:xfrm>
            <a:off x="617044" y="2180863"/>
            <a:ext cx="2160767" cy="1536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5D1C8A2-7A14-B8EB-F6A5-1D74EA8D0713}"/>
              </a:ext>
            </a:extLst>
          </p:cNvPr>
          <p:cNvSpPr/>
          <p:nvPr/>
        </p:nvSpPr>
        <p:spPr bwMode="auto">
          <a:xfrm>
            <a:off x="335360" y="1263960"/>
            <a:ext cx="5664629" cy="580864"/>
          </a:xfrm>
          <a:prstGeom prst="rect">
            <a:avLst/>
          </a:prstGeom>
          <a:solidFill>
            <a:srgbClr val="5EA290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r>
              <a:rPr lang="en-US" sz="1867" b="1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Exploring the AI in EDA*  to improve R&amp;D Proc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F20711E-D23A-8081-7CB2-27CAEC2BD5D7}"/>
              </a:ext>
            </a:extLst>
          </p:cNvPr>
          <p:cNvSpPr/>
          <p:nvPr/>
        </p:nvSpPr>
        <p:spPr bwMode="auto">
          <a:xfrm>
            <a:off x="6288024" y="1263960"/>
            <a:ext cx="5574967" cy="580864"/>
          </a:xfrm>
          <a:prstGeom prst="rect">
            <a:avLst/>
          </a:prstGeom>
          <a:solidFill>
            <a:srgbClr val="5EA290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r>
              <a:rPr lang="en-US" sz="1867" b="1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Bringing AI on Edge</a:t>
            </a:r>
            <a:endParaRPr lang="en-US" sz="1867" b="1" dirty="0">
              <a:solidFill>
                <a:schemeClr val="bg1"/>
              </a:solidFill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F0BECED-37D0-2903-5438-E358B5ADDC58}"/>
              </a:ext>
            </a:extLst>
          </p:cNvPr>
          <p:cNvSpPr txBox="1"/>
          <p:nvPr/>
        </p:nvSpPr>
        <p:spPr bwMode="auto">
          <a:xfrm>
            <a:off x="2912367" y="2253566"/>
            <a:ext cx="283231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Using AI/ML techniques to enhance the R&amp;D Design, make the process more efficient, and improve the productivity of the designe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0D0645C-F22E-2E0F-786D-C3C2A6906DF9}"/>
              </a:ext>
            </a:extLst>
          </p:cNvPr>
          <p:cNvSpPr txBox="1"/>
          <p:nvPr/>
        </p:nvSpPr>
        <p:spPr bwMode="auto">
          <a:xfrm>
            <a:off x="5744681" y="4905840"/>
            <a:ext cx="283231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Developing the in-house MLOps Infrastructure to provide scalable infrastructure to develop and host AI/ML Model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CCF156-5834-AA28-5712-0910D43368B9}"/>
              </a:ext>
            </a:extLst>
          </p:cNvPr>
          <p:cNvSpPr txBox="1"/>
          <p:nvPr/>
        </p:nvSpPr>
        <p:spPr bwMode="auto">
          <a:xfrm>
            <a:off x="8862853" y="2197894"/>
            <a:ext cx="283231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Providing the platform for our customers deploy the AI/ML* models on Infineon Products by automating the process of Quantization, Pruning etc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BB8C28-620A-B851-95C1-0A399E41F558}"/>
              </a:ext>
            </a:extLst>
          </p:cNvPr>
          <p:cNvSpPr/>
          <p:nvPr/>
        </p:nvSpPr>
        <p:spPr bwMode="auto">
          <a:xfrm>
            <a:off x="3306607" y="4065408"/>
            <a:ext cx="5664629" cy="580864"/>
          </a:xfrm>
          <a:prstGeom prst="rect">
            <a:avLst/>
          </a:prstGeom>
          <a:solidFill>
            <a:srgbClr val="5EA290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r>
              <a:rPr lang="en-US" sz="1867" b="1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In-house MLOps Infrastructur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AF40722-90E4-3083-E99D-5AF290DE3BAB}"/>
              </a:ext>
            </a:extLst>
          </p:cNvPr>
          <p:cNvSpPr/>
          <p:nvPr/>
        </p:nvSpPr>
        <p:spPr bwMode="auto">
          <a:xfrm>
            <a:off x="334432" y="3900002"/>
            <a:ext cx="2832315" cy="2505329"/>
          </a:xfrm>
          <a:prstGeom prst="rect">
            <a:avLst/>
          </a:prstGeom>
          <a:solidFill>
            <a:srgbClr val="D1E1DB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E766985-5349-77E8-EA20-D0F81ACF9FCC}"/>
              </a:ext>
            </a:extLst>
          </p:cNvPr>
          <p:cNvSpPr/>
          <p:nvPr/>
        </p:nvSpPr>
        <p:spPr bwMode="auto">
          <a:xfrm>
            <a:off x="9111100" y="3900001"/>
            <a:ext cx="2746468" cy="2505329"/>
          </a:xfrm>
          <a:prstGeom prst="rect">
            <a:avLst/>
          </a:prstGeom>
          <a:solidFill>
            <a:srgbClr val="D1E1DB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AAE9CAD-1344-4641-B56F-6B46CE52D8D8}"/>
              </a:ext>
            </a:extLst>
          </p:cNvPr>
          <p:cNvSpPr/>
          <p:nvPr/>
        </p:nvSpPr>
        <p:spPr bwMode="auto">
          <a:xfrm>
            <a:off x="8328248" y="6509757"/>
            <a:ext cx="2520281" cy="319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eaLnBrk="0" hangingPunct="0"/>
            <a:r>
              <a:rPr lang="en-US" sz="900">
                <a:latin typeface="+mn-lt"/>
              </a:rPr>
              <a:t>EDA  </a:t>
            </a:r>
            <a:r>
              <a:rPr lang="en-US" sz="900" baseline="0">
                <a:latin typeface="+mn-lt"/>
                <a:ea typeface="+mn-ea"/>
                <a:cs typeface="+mn-cs"/>
              </a:rPr>
              <a:t>- Electronic Design Automation</a:t>
            </a:r>
          </a:p>
          <a:p>
            <a:pPr eaLnBrk="0" hangingPunct="0"/>
            <a:r>
              <a:rPr lang="en-US" sz="900">
                <a:latin typeface="+mn-lt"/>
              </a:rPr>
              <a:t>AI/ML-Artificial Intelligence / Machine Learning</a:t>
            </a:r>
            <a:endParaRPr lang="en-US" sz="9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D2DB9AB-97AD-4002-90F6-EDC8B3D75B80}"/>
              </a:ext>
            </a:extLst>
          </p:cNvPr>
          <p:cNvSpPr txBox="1"/>
          <p:nvPr/>
        </p:nvSpPr>
        <p:spPr bwMode="auto">
          <a:xfrm>
            <a:off x="565765" y="4196622"/>
            <a:ext cx="2649915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Various applications:</a:t>
            </a:r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lang="en-US" sz="1600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Analog structure recognition</a:t>
            </a: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Congestion prediction</a:t>
            </a: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Anomalies detec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61BEA69-89E6-4EAB-80F4-CFA14A3C9142}"/>
              </a:ext>
            </a:extLst>
          </p:cNvPr>
          <p:cNvSpPr txBox="1"/>
          <p:nvPr/>
        </p:nvSpPr>
        <p:spPr bwMode="auto">
          <a:xfrm>
            <a:off x="9206726" y="3933057"/>
            <a:ext cx="2649915" cy="1915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Various applications:</a:t>
            </a:r>
          </a:p>
          <a:p>
            <a:pPr marR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lang="en-US" sz="1600" kern="0" dirty="0">
              <a:latin typeface="+mn-lt"/>
              <a:ea typeface="Verdana" pitchFamily="34" charset="0"/>
              <a:cs typeface="Arial" panose="020B0604020202020204" pitchFamily="34" charset="0"/>
            </a:endParaRP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Wake-word detection</a:t>
            </a: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Lidar object detection</a:t>
            </a: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Radar-based object detection</a:t>
            </a:r>
          </a:p>
          <a:p>
            <a:pPr marL="285750" marR="0" indent="-28575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US" sz="1600" kern="0" dirty="0">
                <a:latin typeface="+mn-lt"/>
                <a:ea typeface="Verdana" pitchFamily="34" charset="0"/>
                <a:cs typeface="Arial" panose="020B0604020202020204" pitchFamily="34" charset="0"/>
              </a:rPr>
              <a:t>Image recognition etc.</a:t>
            </a:r>
          </a:p>
        </p:txBody>
      </p:sp>
    </p:spTree>
    <p:extLst>
      <p:ext uri="{BB962C8B-B14F-4D97-AF65-F5344CB8AC3E}">
        <p14:creationId xmlns:p14="http://schemas.microsoft.com/office/powerpoint/2010/main" val="1161414656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EMPOWER.INTEGRATIONS.LOCALMASTER" val="{&quot;path&quot;:null,&quot;elementId&quot;:&quot;f8120ca7-cceb-428f-a7d0-f20ce9397e1b&quot;,&quot;elementName&quot;:null,&quot;databaseId&quot;:&quot;FDE84254-54DB-49E3-9A0E-CDE72035D530&quot;,&quot;timeStamp&quot;:&quot;2023-05-13T07:12:22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e43e971-1b18-45eb-bad5-5bef206ac189"/>
  <p:tag name="MIO_EKGUID" val="ef9b4721-df91-4abb-931d-a643b4d6c541"/>
  <p:tag name="MIO_UPDATE" val="True"/>
  <p:tag name="MIO_VERSION" val="21.06.2021 10:43:31"/>
  <p:tag name="MIO_DBID" val="FDE84254-54DB-49E3-9A0E-CDE72035D530"/>
  <p:tag name="MIO_LASTDOWNLOADED" val="25.08.2022 08:46:34.517"/>
  <p:tag name="MIO_OBJECTNAME" val="Picture with 3 Text boxes"/>
  <p:tag name="MIO_LASTEDITORNAME" val="Verena Kohl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d527d71-fc4f-485f-810c-3b8508bd51ab"/>
  <p:tag name="MIO_GUID" val="2c257a68-6f8b-4ef0-adf3-c3a29e02d534"/>
  <p:tag name="MIO_UPDATE" val="True"/>
  <p:tag name="MIO_VERSION" val="23.11.2020 19:38:37"/>
  <p:tag name="MIO_DBID" val="0F45B44C-9BC7-4D85-81C4-7155EE70A7B9"/>
  <p:tag name="MIO_LASTDOWNLOADED" val="23.11.2020 20:38:48.007"/>
  <p:tag name="MIO_OBJECTNAME" val="City"/>
  <p:tag name="MIO_LASTEDITORNAME" val=" Verena Kohl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1026cd1-132b-4b4a-a608-07a1d4f710ce"/>
  <p:tag name="MIO_GUID" val="9e9da570-0000-47ee-8463-ef770b6cd4fb"/>
  <p:tag name="MIO_UPDATE" val="True"/>
  <p:tag name="MIO_VERSION" val="05.03.2023 11:08:23"/>
  <p:tag name="MIO_DBID" val="FDE84254-54DB-49E3-9A0E-CDE72035D530"/>
  <p:tag name="MIO_LASTDOWNLOADED" val="11.03.2024 02:11:37.726"/>
  <p:tag name="MIO_OBJECTNAME" val="AI"/>
  <p:tag name="MIO_CONTENTTAG" val="V6EZjGETIUisiqhtkWkJIStyXY7MHzhPjvUDwNkrdzA="/>
  <p:tag name="MIO_LASTEDITORNAME" val="Verena Kohl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0032761-49ed-4a74-8b7a-d83546093516"/>
  <p:tag name="MIO_GUID" val="fd787e85-e845-46b6-b5df-fe5799351438"/>
  <p:tag name="MIO_UPDATE" val="True"/>
  <p:tag name="MIO_VERSION" val="05.03.2023 11:18:57"/>
  <p:tag name="MIO_DBID" val="FDE84254-54DB-49E3-9A0E-CDE72035D530"/>
  <p:tag name="MIO_LASTDOWNLOADED" val="11.03.2024 16:44:58.234"/>
  <p:tag name="MIO_OBJECTNAME" val="Video"/>
  <p:tag name="MIO_CONTENTTAG" val="/Aw1/G0P4kuU9a2W81kOch08vs3ym6JDmRT4yfjQQlQ="/>
  <p:tag name="MIO_LASTEDITORNAME" val="Verena Kohl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f6a3210-83a3-43fa-add6-92255fa7457e"/>
  <p:tag name="MIO_GUID" val="777d6f3e-d247-4bec-8165-3a5573341317"/>
  <p:tag name="MIO_UPDATE" val="True"/>
  <p:tag name="MIO_VERSION" val="05.03.2023 11:08:36"/>
  <p:tag name="MIO_DBID" val="FDE84254-54DB-49E3-9A0E-CDE72035D530"/>
  <p:tag name="MIO_LASTDOWNLOADED" val="11.03.2024 16:45:37.708"/>
  <p:tag name="MIO_OBJECTNAME" val="Audio"/>
  <p:tag name="MIO_CONTENTTAG" val="v9hUQrD3NkmOMjYk+IfIM40GglARc65KrlrErc8GvUA="/>
  <p:tag name="MIO_LASTEDITORNAME" val="Verena Kohl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a306c45-10b3-4b3c-8b7d-c6c23724c35a"/>
  <p:tag name="MIO_GUID" val="9b7613da-93a2-4970-884f-3a7883c64fe2"/>
  <p:tag name="MIO_UPDATE" val="True"/>
  <p:tag name="MIO_VERSION" val="05.03.2023 11:13:59"/>
  <p:tag name="MIO_DBID" val="FDE84254-54DB-49E3-9A0E-CDE72035D530"/>
  <p:tag name="MIO_LASTDOWNLOADED" val="11.03.2024 16:45:35.774"/>
  <p:tag name="MIO_OBJECTNAME" val="Music"/>
  <p:tag name="MIO_CONTENTTAG" val="xXY2qV/j7022snBFWVLTkxPYZCwTc1JGkJcwYkyIJD0="/>
  <p:tag name="MIO_LASTEDITORNAME" val="Verena Kohl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purl.org/dc/dcmitype/"/>
    <ds:schemaRef ds:uri="http://www.w3.org/XML/1998/namespace"/>
    <ds:schemaRef ds:uri="http://purl.org/dc/elements/1.1/"/>
    <ds:schemaRef ds:uri="6ef45842-284e-44e4-b2db-1749e7948b44"/>
    <ds:schemaRef ds:uri="http://schemas.openxmlformats.org/package/2006/metadata/core-properties"/>
    <ds:schemaRef ds:uri="http://schemas.microsoft.com/office/2006/metadata/properties"/>
    <ds:schemaRef ds:uri="a709603d-609a-478b-a91d-3c5e984c0e79"/>
    <ds:schemaRef ds:uri="http://schemas.microsoft.com/office/2006/documentManagement/types"/>
    <ds:schemaRef ds:uri="http://schemas.microsoft.com/office/infopath/2007/PartnerControls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1022</TotalTime>
  <Words>2918</Words>
  <Application>Microsoft Office PowerPoint</Application>
  <PresentationFormat>Widescreen</PresentationFormat>
  <Paragraphs>614</Paragraphs>
  <Slides>42</Slides>
  <Notes>15</Notes>
  <HiddenSlides>1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9" baseType="lpstr">
      <vt:lpstr>Arial</vt:lpstr>
      <vt:lpstr>Arial Unicode MS</vt:lpstr>
      <vt:lpstr>Calibri</vt:lpstr>
      <vt:lpstr>Google Sans</vt:lpstr>
      <vt:lpstr>Verdana</vt:lpstr>
      <vt:lpstr>Wingdings</vt:lpstr>
      <vt:lpstr>Infineon 16:9</vt:lpstr>
      <vt:lpstr>PowerPoint Presentation</vt:lpstr>
      <vt:lpstr>DAY 1: Bootcamp </vt:lpstr>
      <vt:lpstr>Agentic Bug Hunter</vt:lpstr>
      <vt:lpstr>Agenda</vt:lpstr>
      <vt:lpstr>Agenda</vt:lpstr>
      <vt:lpstr>Nice to meet you</vt:lpstr>
      <vt:lpstr>Agenda</vt:lpstr>
      <vt:lpstr>Our work at Infineon</vt:lpstr>
      <vt:lpstr>Our work at Infineon</vt:lpstr>
      <vt:lpstr>Agenda</vt:lpstr>
      <vt:lpstr>Understanding AI, ML, and Deep Learning</vt:lpstr>
      <vt:lpstr>Sub-domains of AI </vt:lpstr>
      <vt:lpstr>Agenda</vt:lpstr>
      <vt:lpstr>Introduction to Natural Language Processing (NLP)</vt:lpstr>
      <vt:lpstr>How does NLP work?</vt:lpstr>
      <vt:lpstr>Exploratory Data Analysis</vt:lpstr>
      <vt:lpstr>Text Pre-processing Techniques</vt:lpstr>
      <vt:lpstr>How does NLP work?</vt:lpstr>
      <vt:lpstr>Neural Networks and its Working</vt:lpstr>
      <vt:lpstr>Deep Neural Network</vt:lpstr>
      <vt:lpstr>Neural Network Architectures</vt:lpstr>
      <vt:lpstr>How does NLP work?</vt:lpstr>
      <vt:lpstr>Common NLP Applications</vt:lpstr>
      <vt:lpstr>Agenda</vt:lpstr>
      <vt:lpstr>Generative AI</vt:lpstr>
      <vt:lpstr>Traditional AI Vs Generative AI</vt:lpstr>
      <vt:lpstr>Types of Generative Models  Based on data they generate from text input</vt:lpstr>
      <vt:lpstr>Large Language Models (LLM’s)</vt:lpstr>
      <vt:lpstr>Evolution of Large Language Models</vt:lpstr>
      <vt:lpstr>Use Cases of Generative AI</vt:lpstr>
      <vt:lpstr>GenAI Use Cases @ IFX</vt:lpstr>
      <vt:lpstr>Agenda</vt:lpstr>
      <vt:lpstr>From LLM’s to Agentic Systems</vt:lpstr>
      <vt:lpstr>Why Agents?</vt:lpstr>
      <vt:lpstr>How Agentic AI Systems Work:  The Thinking-Acting Loop</vt:lpstr>
      <vt:lpstr>What is MCP (Model Context Protocol)?</vt:lpstr>
      <vt:lpstr>Essence of Problem Statement</vt:lpstr>
      <vt:lpstr>Getting started with NLP</vt:lpstr>
      <vt:lpstr>Agenda</vt:lpstr>
      <vt:lpstr>Glossary</vt:lpstr>
      <vt:lpstr>References</vt:lpstr>
      <vt:lpstr>Nice to meet you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jpai Ashutosh (IFIN DES PTS TI EA AML)</dc:creator>
  <cp:lastModifiedBy>Shukla Jiwank (DES DTP DDA AIA)</cp:lastModifiedBy>
  <cp:revision>755</cp:revision>
  <dcterms:created xsi:type="dcterms:W3CDTF">2024-01-07T05:15:10Z</dcterms:created>
  <dcterms:modified xsi:type="dcterms:W3CDTF">2026-02-08T16:1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-1</vt:i4>
  </property>
  <property fmtid="{D5CDD505-2E9C-101B-9397-08002B2CF9AE}" pid="14" name="empower.integration.Classification.FooterDate">
    <vt:filetime>2026-01-29T18:30:00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56324211-5033-4782-8e72-c0d1146c3a50_Enabled">
    <vt:bool>true</vt:bool>
  </property>
  <property fmtid="{D5CDD505-2E9C-101B-9397-08002B2CF9AE}" pid="23" name="MSIP_Label_56324211-5033-4782-8e72-c0d1146c3a50_SetDate">
    <vt:lpwstr>2026-01-28 05:44:08Z</vt:lpwstr>
  </property>
  <property fmtid="{D5CDD505-2E9C-101B-9397-08002B2CF9AE}" pid="24" name="MSIP_Label_56324211-5033-4782-8e72-c0d1146c3a50_Method">
    <vt:lpwstr>Privileged</vt:lpwstr>
  </property>
  <property fmtid="{D5CDD505-2E9C-101B-9397-08002B2CF9AE}" pid="25" name="MSIP_Label_56324211-5033-4782-8e72-c0d1146c3a50_Name">
    <vt:lpwstr>56324211-5033-4782-8e72-c0d1146c3a50</vt:lpwstr>
  </property>
  <property fmtid="{D5CDD505-2E9C-101B-9397-08002B2CF9AE}" pid="26" name="MSIP_Label_56324211-5033-4782-8e72-c0d1146c3a50_SiteId">
    <vt:lpwstr>eeb8d0e8-3544-41d3-aac6-934c309faf5a</vt:lpwstr>
  </property>
  <property fmtid="{D5CDD505-2E9C-101B-9397-08002B2CF9AE}" pid="27" name="MSIP_Label_56324211-5033-4782-8e72-c0d1146c3a50_ActionId">
    <vt:lpwstr>1b88445e-1bdf-490a-a90b-ff7e133c6272</vt:lpwstr>
  </property>
  <property fmtid="{D5CDD505-2E9C-101B-9397-08002B2CF9AE}" pid="28" name="MSIP_Label_56324211-5033-4782-8e72-c0d1146c3a50_ContentBits">
    <vt:lpwstr>0</vt:lpwstr>
  </property>
</Properties>
</file>